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4"/>
  </p:notesMasterIdLst>
  <p:sldIdLst>
    <p:sldId id="257" r:id="rId2"/>
    <p:sldId id="261" r:id="rId3"/>
    <p:sldId id="269" r:id="rId4"/>
    <p:sldId id="258" r:id="rId5"/>
    <p:sldId id="262" r:id="rId6"/>
    <p:sldId id="266" r:id="rId7"/>
    <p:sldId id="270" r:id="rId8"/>
    <p:sldId id="300" r:id="rId9"/>
    <p:sldId id="271" r:id="rId10"/>
    <p:sldId id="272" r:id="rId11"/>
    <p:sldId id="267" r:id="rId12"/>
    <p:sldId id="273" r:id="rId13"/>
    <p:sldId id="275" r:id="rId14"/>
    <p:sldId id="276" r:id="rId15"/>
    <p:sldId id="277" r:id="rId16"/>
    <p:sldId id="278" r:id="rId17"/>
    <p:sldId id="279" r:id="rId18"/>
    <p:sldId id="280" r:id="rId19"/>
    <p:sldId id="281" r:id="rId20"/>
    <p:sldId id="282" r:id="rId21"/>
    <p:sldId id="283" r:id="rId22"/>
    <p:sldId id="284" r:id="rId23"/>
    <p:sldId id="285" r:id="rId24"/>
    <p:sldId id="286" r:id="rId25"/>
    <p:sldId id="287" r:id="rId26"/>
    <p:sldId id="288" r:id="rId27"/>
    <p:sldId id="289" r:id="rId28"/>
    <p:sldId id="294" r:id="rId29"/>
    <p:sldId id="290" r:id="rId30"/>
    <p:sldId id="291" r:id="rId31"/>
    <p:sldId id="295" r:id="rId32"/>
    <p:sldId id="292" r:id="rId33"/>
    <p:sldId id="296" r:id="rId34"/>
    <p:sldId id="293" r:id="rId35"/>
    <p:sldId id="302" r:id="rId36"/>
    <p:sldId id="303" r:id="rId37"/>
    <p:sldId id="304" r:id="rId38"/>
    <p:sldId id="305" r:id="rId39"/>
    <p:sldId id="297" r:id="rId40"/>
    <p:sldId id="268" r:id="rId41"/>
    <p:sldId id="301" r:id="rId42"/>
    <p:sldId id="298" r:id="rId4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554A"/>
    <a:srgbClr val="EDF1FA"/>
    <a:srgbClr val="E1F1F2"/>
    <a:srgbClr val="38A3A5"/>
    <a:srgbClr val="5CB4B5"/>
    <a:srgbClr val="57CC99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70" autoAdjust="0"/>
    <p:restoredTop sz="94660"/>
  </p:normalViewPr>
  <p:slideViewPr>
    <p:cSldViewPr snapToGrid="0" showGuides="1">
      <p:cViewPr varScale="1">
        <p:scale>
          <a:sx n="49" d="100"/>
          <a:sy n="49" d="100"/>
        </p:scale>
        <p:origin x="66" y="402"/>
      </p:cViewPr>
      <p:guideLst>
        <p:guide orient="horz" pos="213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5DAFCB-17F9-452B-A674-7A8C37B206AE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1F42A-8D46-4D3E-8CDE-E3253582B1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750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A59B14-757C-437F-9281-4103816897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E6C829-09DE-44C5-B778-E328EFE09C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7C1550-68E2-4900-957A-047CFBD650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67952D-CDDB-4AF0-A81B-3BAC7B6B3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75680F-B63A-4E3D-AE1C-F32A963EE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001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D6631B-614A-459B-807C-4635EE76B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4EBB86-A4C4-47CE-908B-ECA04D097B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495CAE-54BD-4A90-936C-FE537058A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DC95E6-787B-45F0-A7C5-06CE614D6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4EBD33-2F6B-4881-B249-A32373887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17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9D0E92B-9E6A-4072-9FEE-BBA054C994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0BBAC9-F20F-43EF-9DD8-E38E3BCA49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F76569-12BD-4BF6-BAFD-FDAE8D2B5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9CE6DB-FF77-41D0-9A8B-561B3F27B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2D27C-3547-427B-89FB-F492E629B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570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7698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77646D-BBCB-42EA-B6F9-0A491F3D4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5720B7-07EE-4782-8029-0C7F63B49D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CB0DB-8FAA-4D2E-8774-433AEF59D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70F05A-3D52-4601-9D7A-1C6842F03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A73712-AD15-4516-B316-7BE648EC1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671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54C0C-E79D-4298-AB1D-D97EA0863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D1E0BB-693E-4B61-9A2B-125F3BC5CB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C6708B-6D10-4918-948E-78CDC38E4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47D5E-818A-4CC5-BFEF-DDC69A258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5003C-BEE3-413A-B043-4E6166D9E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8241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4EBDC-2B27-4FE5-A8DA-E591257D6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B190BF-FA12-4AD8-8778-D203E659DB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782443-0759-4107-AD5D-CA49BC8783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B557E2-79BB-4B6F-929D-C53D81C2E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22EA64-54FC-4EEB-A6FB-9B4A3A9A3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B9B35A-6774-4F73-A0B4-852223361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997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723983-F2B0-4A29-A11A-FC6AAA513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F79901-029F-481B-A383-751E67818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662936-BD9A-40A1-95F8-DE3C950AA1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B5F4FC-DC3F-408F-800E-A36214B13D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BCACBF-8905-4921-9841-906D009148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2030C9-DD02-482A-964B-EB1086814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FDB6DCB-4D07-4E89-8F54-7D16AAE4A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110F5DE-4517-4C3D-9B42-43C557025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479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3AE4C-50C6-455A-9654-96E4FAD43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0C3681-A889-4BDC-8143-8DB1153A9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CBBDAD-1EA7-438C-914E-B97A679F6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0F184D-65AC-4CB7-81FE-AFD3143A2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807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62567C-32C9-4A05-961D-C4AE5878D0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FCCD0B-76D5-4099-9218-2E6F2870A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FFA266-9032-4EE4-9243-519CDC669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2534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8A41B7-E3A3-42D0-B8D8-D6899CC2B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91A1C5-256C-40B5-A555-7F3356E375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093467-F4EB-43A9-B87D-83E1E473A7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6A4264-70E5-401E-A4E2-D3BB2EF8C9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84F1B9-38D0-4BFC-A474-77237446E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AAB873-41C1-4489-A6F5-866C32C7DF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580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63180-16DA-4043-A7BB-02ED7D11E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368282-60E6-471E-9AEB-230524BC56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7E4F97-82D4-4A99-8898-60C569AE87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F73830-391F-4FA3-AC7D-7089FDA1B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3E1A18-8575-4389-A94B-D98CB3CFD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E3D982-4683-4E27-9E32-706D241293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129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1FF4F9-BD5B-4F77-AFB0-51AAB4D38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EBB32F-66D3-4068-9D63-AE0FA3B58A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7AFEE6-CC4C-4992-B60F-3270F8EFA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C63F25-A025-4774-A177-278E04E7B119}" type="datetimeFigureOut">
              <a:rPr lang="en-US" smtClean="0"/>
              <a:t>08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665567-C6A4-497A-9559-D66469814F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E2F70D-C77E-43E9-A97E-9A5F6642E5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51C7F9-435B-43CD-818C-51445B80D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496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6.jpg"/><Relationship Id="rId4" Type="http://schemas.openxmlformats.org/officeDocument/2006/relationships/image" Target="../media/image46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7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1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sv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jpg"/><Relationship Id="rId5" Type="http://schemas.openxmlformats.org/officeDocument/2006/relationships/image" Target="../media/image68.svg"/><Relationship Id="rId4" Type="http://schemas.openxmlformats.org/officeDocument/2006/relationships/image" Target="../media/image6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jpg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jpg"/><Relationship Id="rId5" Type="http://schemas.openxmlformats.org/officeDocument/2006/relationships/image" Target="../media/image76.svg"/><Relationship Id="rId4" Type="http://schemas.openxmlformats.org/officeDocument/2006/relationships/image" Target="../media/image7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jpg"/><Relationship Id="rId5" Type="http://schemas.openxmlformats.org/officeDocument/2006/relationships/image" Target="../media/image78.svg"/><Relationship Id="rId4" Type="http://schemas.openxmlformats.org/officeDocument/2006/relationships/image" Target="../media/image7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jpg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4.svg"/><Relationship Id="rId5" Type="http://schemas.openxmlformats.org/officeDocument/2006/relationships/image" Target="../media/image83.png"/><Relationship Id="rId4" Type="http://schemas.openxmlformats.org/officeDocument/2006/relationships/image" Target="../media/image82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5.emf"/><Relationship Id="rId5" Type="http://schemas.openxmlformats.org/officeDocument/2006/relationships/package" Target="../embeddings/Microsoft_Excel_Worksheet1.xlsx"/><Relationship Id="rId4" Type="http://schemas.openxmlformats.org/officeDocument/2006/relationships/image" Target="../media/image84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6.emf"/><Relationship Id="rId5" Type="http://schemas.openxmlformats.org/officeDocument/2006/relationships/package" Target="../embeddings/Microsoft_Excel_Worksheet2.xlsx"/><Relationship Id="rId4" Type="http://schemas.openxmlformats.org/officeDocument/2006/relationships/image" Target="../media/image84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7.emf"/><Relationship Id="rId5" Type="http://schemas.openxmlformats.org/officeDocument/2006/relationships/package" Target="../embeddings/Microsoft_Excel_Worksheet3.xlsx"/><Relationship Id="rId4" Type="http://schemas.openxmlformats.org/officeDocument/2006/relationships/image" Target="../media/image84.sv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gif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1">
            <a:extLst>
              <a:ext uri="{FF2B5EF4-FFF2-40B4-BE49-F238E27FC236}">
                <a16:creationId xmlns:a16="http://schemas.microsoft.com/office/drawing/2014/main" id="{DFCE8117-AAB3-434B-9487-F9E1B8351A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45" b="27545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2" name="任意形状 5">
            <a:extLst>
              <a:ext uri="{FF2B5EF4-FFF2-40B4-BE49-F238E27FC236}">
                <a16:creationId xmlns:a16="http://schemas.microsoft.com/office/drawing/2014/main" id="{E1498553-F988-4B4D-8EC1-BF859CC079AA}"/>
              </a:ext>
            </a:extLst>
          </p:cNvPr>
          <p:cNvSpPr/>
          <p:nvPr/>
        </p:nvSpPr>
        <p:spPr>
          <a:xfrm rot="10800000">
            <a:off x="-1" y="-39089"/>
            <a:ext cx="9574308" cy="6897089"/>
          </a:xfrm>
          <a:custGeom>
            <a:avLst/>
            <a:gdLst>
              <a:gd name="connsiteX0" fmla="*/ 4177553 w 4177553"/>
              <a:gd name="connsiteY0" fmla="*/ 3013636 h 3013636"/>
              <a:gd name="connsiteX1" fmla="*/ 2743200 w 4177553"/>
              <a:gd name="connsiteY1" fmla="*/ 3013636 h 3013636"/>
              <a:gd name="connsiteX2" fmla="*/ 0 w 4177553"/>
              <a:gd name="connsiteY2" fmla="*/ 648808 h 3013636"/>
              <a:gd name="connsiteX3" fmla="*/ 0 w 4177553"/>
              <a:gd name="connsiteY3" fmla="*/ 0 h 3013636"/>
              <a:gd name="connsiteX4" fmla="*/ 4177553 w 4177553"/>
              <a:gd name="connsiteY4" fmla="*/ 0 h 3013636"/>
              <a:gd name="connsiteX5" fmla="*/ 4177553 w 4177553"/>
              <a:gd name="connsiteY5" fmla="*/ 3013636 h 3013636"/>
              <a:gd name="connsiteX0" fmla="*/ 4183429 w 4183429"/>
              <a:gd name="connsiteY0" fmla="*/ 3013636 h 3013636"/>
              <a:gd name="connsiteX1" fmla="*/ 2749076 w 4183429"/>
              <a:gd name="connsiteY1" fmla="*/ 3013636 h 3013636"/>
              <a:gd name="connsiteX2" fmla="*/ 0 w 4183429"/>
              <a:gd name="connsiteY2" fmla="*/ 319774 h 3013636"/>
              <a:gd name="connsiteX3" fmla="*/ 5876 w 4183429"/>
              <a:gd name="connsiteY3" fmla="*/ 0 h 3013636"/>
              <a:gd name="connsiteX4" fmla="*/ 4183429 w 4183429"/>
              <a:gd name="connsiteY4" fmla="*/ 0 h 3013636"/>
              <a:gd name="connsiteX5" fmla="*/ 4183429 w 4183429"/>
              <a:gd name="connsiteY5" fmla="*/ 3013636 h 3013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3429" h="3013636">
                <a:moveTo>
                  <a:pt x="4183429" y="3013636"/>
                </a:moveTo>
                <a:lnTo>
                  <a:pt x="2749076" y="3013636"/>
                </a:lnTo>
                <a:lnTo>
                  <a:pt x="0" y="319774"/>
                </a:lnTo>
                <a:lnTo>
                  <a:pt x="5876" y="0"/>
                </a:lnTo>
                <a:lnTo>
                  <a:pt x="4183429" y="0"/>
                </a:lnTo>
                <a:lnTo>
                  <a:pt x="4183429" y="3013636"/>
                </a:lnTo>
                <a:close/>
              </a:path>
            </a:pathLst>
          </a:custGeom>
          <a:solidFill>
            <a:srgbClr val="2E2E3F">
              <a:alpha val="7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" name="三角形 2">
            <a:extLst>
              <a:ext uri="{FF2B5EF4-FFF2-40B4-BE49-F238E27FC236}">
                <a16:creationId xmlns:a16="http://schemas.microsoft.com/office/drawing/2014/main" id="{59FBA502-3F5F-4AC6-92E9-746F6AD2CE26}"/>
              </a:ext>
            </a:extLst>
          </p:cNvPr>
          <p:cNvSpPr/>
          <p:nvPr/>
        </p:nvSpPr>
        <p:spPr>
          <a:xfrm>
            <a:off x="0" y="4493172"/>
            <a:ext cx="2743200" cy="236482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" name="三角形 3">
            <a:extLst>
              <a:ext uri="{FF2B5EF4-FFF2-40B4-BE49-F238E27FC236}">
                <a16:creationId xmlns:a16="http://schemas.microsoft.com/office/drawing/2014/main" id="{5398E2B6-9681-4639-8F01-952C34F2E35A}"/>
              </a:ext>
            </a:extLst>
          </p:cNvPr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E3E28F-12AE-467F-96BB-088B13B92D72}"/>
              </a:ext>
            </a:extLst>
          </p:cNvPr>
          <p:cNvSpPr txBox="1"/>
          <p:nvPr/>
        </p:nvSpPr>
        <p:spPr>
          <a:xfrm>
            <a:off x="696075" y="2364828"/>
            <a:ext cx="35812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WELCOM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88A6671-36EA-433C-8D98-ECF2587B75A2}"/>
              </a:ext>
            </a:extLst>
          </p:cNvPr>
          <p:cNvSpPr txBox="1">
            <a:spLocks/>
          </p:cNvSpPr>
          <p:nvPr/>
        </p:nvSpPr>
        <p:spPr>
          <a:xfrm>
            <a:off x="3103367" y="3933515"/>
            <a:ext cx="4492052" cy="17151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NHÓM 5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ớp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: IT16302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Đề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tài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: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Phần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mềm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nhà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sách</a:t>
            </a:r>
            <a:endParaRPr lang="en-US" sz="1800" b="1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Giảng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Viên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: Nguyễn </a:t>
            </a:r>
            <a:r>
              <a:rPr lang="en-US" sz="1800" b="1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Đỗ</a:t>
            </a:r>
            <a:r>
              <a:rPr lang="en-US" sz="1800" b="1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Anh Khoa</a:t>
            </a:r>
          </a:p>
        </p:txBody>
      </p:sp>
      <p:pic>
        <p:nvPicPr>
          <p:cNvPr id="10" name="Graphic 9" descr="Typewriter with solid fill">
            <a:extLst>
              <a:ext uri="{FF2B5EF4-FFF2-40B4-BE49-F238E27FC236}">
                <a16:creationId xmlns:a16="http://schemas.microsoft.com/office/drawing/2014/main" id="{25387FCA-51BB-4F13-979B-8831ED21B6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7465" y="6163088"/>
            <a:ext cx="641498" cy="641498"/>
          </a:xfrm>
          <a:prstGeom prst="rect">
            <a:avLst/>
          </a:prstGeom>
        </p:spPr>
      </p:pic>
      <p:pic>
        <p:nvPicPr>
          <p:cNvPr id="11" name="Graphic 10" descr="Storytelling with solid fill">
            <a:extLst>
              <a:ext uri="{FF2B5EF4-FFF2-40B4-BE49-F238E27FC236}">
                <a16:creationId xmlns:a16="http://schemas.microsoft.com/office/drawing/2014/main" id="{2CE5CDF6-8ECA-45BB-8292-30690BC582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3793" y="6104096"/>
            <a:ext cx="641497" cy="641497"/>
          </a:xfrm>
          <a:prstGeom prst="rect">
            <a:avLst/>
          </a:prstGeom>
        </p:spPr>
      </p:pic>
      <p:pic>
        <p:nvPicPr>
          <p:cNvPr id="12" name="Graphic 11" descr="Person eating with solid fill">
            <a:extLst>
              <a:ext uri="{FF2B5EF4-FFF2-40B4-BE49-F238E27FC236}">
                <a16:creationId xmlns:a16="http://schemas.microsoft.com/office/drawing/2014/main" id="{D0B6DBC1-9AE0-4B61-A58D-D6F9535680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8552" y="6174075"/>
            <a:ext cx="641498" cy="641498"/>
          </a:xfrm>
          <a:prstGeom prst="rect">
            <a:avLst/>
          </a:prstGeom>
        </p:spPr>
      </p:pic>
      <p:cxnSp>
        <p:nvCxnSpPr>
          <p:cNvPr id="13" name="直接连接符 22">
            <a:extLst>
              <a:ext uri="{FF2B5EF4-FFF2-40B4-BE49-F238E27FC236}">
                <a16:creationId xmlns:a16="http://schemas.microsoft.com/office/drawing/2014/main" id="{6EA6696C-1A45-48D7-9D1B-059DF9E2F9A6}"/>
              </a:ext>
            </a:extLst>
          </p:cNvPr>
          <p:cNvCxnSpPr>
            <a:cxnSpLocks/>
          </p:cNvCxnSpPr>
          <p:nvPr/>
        </p:nvCxnSpPr>
        <p:spPr>
          <a:xfrm>
            <a:off x="2331802" y="5850024"/>
            <a:ext cx="571782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6555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F14132-786F-4B24-B434-BA7A6549919A}"/>
              </a:ext>
            </a:extLst>
          </p:cNvPr>
          <p:cNvSpPr txBox="1"/>
          <p:nvPr/>
        </p:nvSpPr>
        <p:spPr>
          <a:xfrm>
            <a:off x="1028700" y="1967266"/>
            <a:ext cx="2628900" cy="2547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kern="1200" dirty="0" err="1">
                <a:solidFill>
                  <a:srgbClr val="FFFFFF"/>
                </a:solidFill>
                <a:latin typeface="SVN-Gotham Bold" pitchFamily="2" charset="0"/>
                <a:ea typeface="+mj-ea"/>
                <a:cs typeface="SVN-Gotham Bold" pitchFamily="2" charset="0"/>
              </a:rPr>
              <a:t>Sơ</a:t>
            </a:r>
            <a:r>
              <a:rPr lang="en-US" sz="3600" kern="1200" dirty="0">
                <a:solidFill>
                  <a:srgbClr val="FFFFFF"/>
                </a:solidFill>
                <a:latin typeface="SVN-Gotham Bold" pitchFamily="2" charset="0"/>
                <a:ea typeface="+mj-ea"/>
                <a:cs typeface="SVN-Gotham Bold" pitchFamily="2" charset="0"/>
              </a:rPr>
              <a:t> </a:t>
            </a:r>
            <a:r>
              <a:rPr lang="en-US" sz="3600" kern="1200" dirty="0" err="1">
                <a:solidFill>
                  <a:srgbClr val="FFFFFF"/>
                </a:solidFill>
                <a:latin typeface="SVN-Gotham Bold" pitchFamily="2" charset="0"/>
                <a:ea typeface="+mj-ea"/>
                <a:cs typeface="SVN-Gotham Bold" pitchFamily="2" charset="0"/>
              </a:rPr>
              <a:t>Đồ</a:t>
            </a:r>
            <a:r>
              <a:rPr lang="en-US" sz="3600" kern="1200" dirty="0">
                <a:solidFill>
                  <a:srgbClr val="FFFFFF"/>
                </a:solidFill>
                <a:latin typeface="SVN-Gotham Bold" pitchFamily="2" charset="0"/>
                <a:ea typeface="+mj-ea"/>
                <a:cs typeface="SVN-Gotham Bold" pitchFamily="2" charset="0"/>
              </a:rPr>
              <a:t> Use Case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kern="1200" dirty="0">
                <a:solidFill>
                  <a:srgbClr val="FFFFFF"/>
                </a:solidFill>
                <a:latin typeface="SVN-Gotham Light" pitchFamily="2" charset="0"/>
                <a:ea typeface="+mj-ea"/>
                <a:cs typeface="SVN-Gotham Light" pitchFamily="2" charset="0"/>
              </a:rPr>
              <a:t>(</a:t>
            </a:r>
            <a:r>
              <a:rPr lang="en-US" sz="2000" kern="1200" dirty="0" err="1">
                <a:solidFill>
                  <a:srgbClr val="FFFFFF"/>
                </a:solidFill>
                <a:latin typeface="SVN-Gotham Light" pitchFamily="2" charset="0"/>
                <a:ea typeface="+mj-ea"/>
                <a:cs typeface="SVN-Gotham Light" pitchFamily="2" charset="0"/>
              </a:rPr>
              <a:t>Tổng</a:t>
            </a:r>
            <a:r>
              <a:rPr lang="en-US" sz="2000" kern="1200" dirty="0">
                <a:solidFill>
                  <a:srgbClr val="FFFFFF"/>
                </a:solidFill>
                <a:latin typeface="SVN-Gotham Light" pitchFamily="2" charset="0"/>
                <a:ea typeface="+mj-ea"/>
                <a:cs typeface="SVN-Gotham Light" pitchFamily="2" charset="0"/>
              </a:rPr>
              <a:t> </a:t>
            </a:r>
            <a:r>
              <a:rPr lang="en-US" sz="2000" kern="1200" dirty="0" err="1">
                <a:solidFill>
                  <a:srgbClr val="FFFFFF"/>
                </a:solidFill>
                <a:latin typeface="SVN-Gotham Light" pitchFamily="2" charset="0"/>
                <a:ea typeface="+mj-ea"/>
                <a:cs typeface="SVN-Gotham Light" pitchFamily="2" charset="0"/>
              </a:rPr>
              <a:t>quát</a:t>
            </a:r>
            <a:r>
              <a:rPr lang="en-US" sz="2000" kern="1200" dirty="0">
                <a:solidFill>
                  <a:srgbClr val="FFFFFF"/>
                </a:solidFill>
                <a:latin typeface="SVN-Gotham Light" pitchFamily="2" charset="0"/>
                <a:ea typeface="+mj-ea"/>
                <a:cs typeface="SVN-Gotham Light" pitchFamily="2" charset="0"/>
              </a:rPr>
              <a:t>)</a:t>
            </a: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0425B4CB-E5C8-4EB6-A09B-23F976BA5B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"/>
          <a:stretch/>
        </p:blipFill>
        <p:spPr>
          <a:xfrm>
            <a:off x="5117127" y="-56854"/>
            <a:ext cx="6845131" cy="675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2688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4C0AA8D5-7C62-40DC-A8D7-2A81AB4B8E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899" y="683414"/>
            <a:ext cx="8796795" cy="5728159"/>
          </a:xfrm>
          <a:prstGeom prst="rect">
            <a:avLst/>
          </a:prstGeom>
        </p:spPr>
      </p:pic>
      <p:sp>
        <p:nvSpPr>
          <p:cNvPr id="20" name="三角形 19"/>
          <p:cNvSpPr/>
          <p:nvPr/>
        </p:nvSpPr>
        <p:spPr>
          <a:xfrm>
            <a:off x="-1683854" y="3941727"/>
            <a:ext cx="6911788" cy="3855509"/>
          </a:xfrm>
          <a:prstGeom prst="triangle">
            <a:avLst/>
          </a:prstGeom>
          <a:blipFill dpi="0" rotWithShape="1">
            <a:blip r:embed="rId3"/>
            <a:srcRect/>
            <a:stretch>
              <a:fillRect l="8000" t="-2000" r="-18000" b="-5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三角形 20"/>
          <p:cNvSpPr/>
          <p:nvPr/>
        </p:nvSpPr>
        <p:spPr>
          <a:xfrm rot="10800000">
            <a:off x="-944869" y="0"/>
            <a:ext cx="5020874" cy="2800726"/>
          </a:xfrm>
          <a:prstGeom prst="triangle">
            <a:avLst/>
          </a:prstGeom>
          <a:blipFill dpi="0" rotWithShape="0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" name="矩形 21"/>
          <p:cNvSpPr/>
          <p:nvPr/>
        </p:nvSpPr>
        <p:spPr>
          <a:xfrm rot="2700000">
            <a:off x="433599" y="2532128"/>
            <a:ext cx="2210772" cy="2210771"/>
          </a:xfrm>
          <a:prstGeom prst="rect">
            <a:avLst/>
          </a:pr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898C86-3077-43FB-932C-838840F63C62}"/>
              </a:ext>
            </a:extLst>
          </p:cNvPr>
          <p:cNvSpPr txBox="1"/>
          <p:nvPr/>
        </p:nvSpPr>
        <p:spPr>
          <a:xfrm>
            <a:off x="289306" y="3153260"/>
            <a:ext cx="24993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32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32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nhân</a:t>
            </a:r>
            <a:r>
              <a:rPr lang="en-US" sz="32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viên</a:t>
            </a:r>
            <a:endParaRPr lang="en-US" sz="32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31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FB0C650-7D11-4506-BAD0-AA45C2C162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284" r="11279"/>
          <a:stretch/>
        </p:blipFill>
        <p:spPr>
          <a:xfrm>
            <a:off x="2313084" y="628735"/>
            <a:ext cx="9898755" cy="528827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A5974FF-B48A-4EDF-9598-80A725D7752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346" b="56111"/>
          <a:stretch/>
        </p:blipFill>
        <p:spPr>
          <a:xfrm>
            <a:off x="2608563" y="824912"/>
            <a:ext cx="9450791" cy="5288279"/>
          </a:xfrm>
          <a:prstGeom prst="rect">
            <a:avLst/>
          </a:prstGeom>
        </p:spPr>
      </p:pic>
      <p:sp>
        <p:nvSpPr>
          <p:cNvPr id="20" name="三角形 19"/>
          <p:cNvSpPr/>
          <p:nvPr/>
        </p:nvSpPr>
        <p:spPr>
          <a:xfrm>
            <a:off x="-1512091" y="4230478"/>
            <a:ext cx="6046919" cy="3373071"/>
          </a:xfrm>
          <a:prstGeom prst="triangle">
            <a:avLst/>
          </a:prstGeom>
          <a:blipFill dpi="0" rotWithShape="1">
            <a:blip r:embed="rId3"/>
            <a:srcRect/>
            <a:stretch>
              <a:fillRect l="8000" t="-2000" r="-18000" b="-5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1" name="三角形 20"/>
          <p:cNvSpPr/>
          <p:nvPr/>
        </p:nvSpPr>
        <p:spPr>
          <a:xfrm rot="10800000">
            <a:off x="-999067" y="-41274"/>
            <a:ext cx="5020874" cy="2800726"/>
          </a:xfrm>
          <a:prstGeom prst="triangle">
            <a:avLst/>
          </a:prstGeom>
          <a:blipFill dpi="0" rotWithShape="0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2" name="矩形 21"/>
          <p:cNvSpPr/>
          <p:nvPr/>
        </p:nvSpPr>
        <p:spPr>
          <a:xfrm rot="2700000">
            <a:off x="495246" y="2690879"/>
            <a:ext cx="1948245" cy="1948244"/>
          </a:xfrm>
          <a:prstGeom prst="rect">
            <a:avLst/>
          </a:pr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898C86-3077-43FB-932C-838840F63C62}"/>
              </a:ext>
            </a:extLst>
          </p:cNvPr>
          <p:cNvSpPr txBox="1"/>
          <p:nvPr/>
        </p:nvSpPr>
        <p:spPr>
          <a:xfrm>
            <a:off x="248217" y="3064112"/>
            <a:ext cx="24993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32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32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Sách</a:t>
            </a:r>
            <a:endParaRPr lang="en-US" sz="32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108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三角形 19"/>
          <p:cNvSpPr/>
          <p:nvPr/>
        </p:nvSpPr>
        <p:spPr>
          <a:xfrm>
            <a:off x="-1832131" y="4230478"/>
            <a:ext cx="6046919" cy="3373071"/>
          </a:xfrm>
          <a:prstGeom prst="triangle">
            <a:avLst/>
          </a:prstGeom>
          <a:blipFill dpi="0" rotWithShape="1">
            <a:blip r:embed="rId2"/>
            <a:srcRect/>
            <a:stretch>
              <a:fillRect l="8000" t="-2000" r="-18000" b="-5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1" name="三角形 20"/>
          <p:cNvSpPr/>
          <p:nvPr/>
        </p:nvSpPr>
        <p:spPr>
          <a:xfrm rot="10800000">
            <a:off x="-1319107" y="-41274"/>
            <a:ext cx="5020874" cy="2800726"/>
          </a:xfrm>
          <a:prstGeom prst="triangle">
            <a:avLst/>
          </a:prstGeom>
          <a:blipFill dpi="0" rotWithShape="0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2" name="矩形 21"/>
          <p:cNvSpPr/>
          <p:nvPr/>
        </p:nvSpPr>
        <p:spPr>
          <a:xfrm rot="2700000">
            <a:off x="246231" y="2719905"/>
            <a:ext cx="1890192" cy="1890191"/>
          </a:xfrm>
          <a:prstGeom prst="rect">
            <a:avLst/>
          </a:pr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898C86-3077-43FB-932C-838840F63C62}"/>
              </a:ext>
            </a:extLst>
          </p:cNvPr>
          <p:cNvSpPr txBox="1"/>
          <p:nvPr/>
        </p:nvSpPr>
        <p:spPr>
          <a:xfrm>
            <a:off x="-58353" y="3276371"/>
            <a:ext cx="24993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24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24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Bán</a:t>
            </a:r>
            <a:r>
              <a:rPr lang="en-US" sz="24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Sách</a:t>
            </a:r>
            <a:endParaRPr lang="en-US" sz="24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12256977-A81F-4049-A9F6-D052542CEE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4783" y="1036320"/>
            <a:ext cx="9440057" cy="482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76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1A16929-C7F7-4D1A-A1D0-63258F481C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055" r="8073"/>
          <a:stretch/>
        </p:blipFill>
        <p:spPr>
          <a:xfrm>
            <a:off x="128207" y="1077275"/>
            <a:ext cx="8976645" cy="47034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1FFB38-B6E3-4A1F-A40E-556B9A98B1C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861"/>
          <a:stretch/>
        </p:blipFill>
        <p:spPr>
          <a:xfrm>
            <a:off x="14960" y="966076"/>
            <a:ext cx="10644487" cy="4703449"/>
          </a:xfrm>
          <a:prstGeom prst="rect">
            <a:avLst/>
          </a:prstGeom>
        </p:spPr>
      </p:pic>
      <p:sp>
        <p:nvSpPr>
          <p:cNvPr id="20" name="三角形 19"/>
          <p:cNvSpPr/>
          <p:nvPr/>
        </p:nvSpPr>
        <p:spPr>
          <a:xfrm>
            <a:off x="7661402" y="4049340"/>
            <a:ext cx="6046919" cy="3373071"/>
          </a:xfrm>
          <a:prstGeom prst="triangle">
            <a:avLst/>
          </a:prstGeom>
          <a:blipFill dpi="0" rotWithShape="1">
            <a:blip r:embed="rId3"/>
            <a:srcRect/>
            <a:stretch>
              <a:fillRect l="8000" t="-2000" r="-18000" b="-5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1" name="三角形 20"/>
          <p:cNvSpPr/>
          <p:nvPr/>
        </p:nvSpPr>
        <p:spPr>
          <a:xfrm rot="10800000">
            <a:off x="8174426" y="-41274"/>
            <a:ext cx="5020874" cy="2800726"/>
          </a:xfrm>
          <a:prstGeom prst="triangle">
            <a:avLst/>
          </a:prstGeom>
          <a:blipFill dpi="0" rotWithShape="0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2" name="矩形 21"/>
          <p:cNvSpPr/>
          <p:nvPr/>
        </p:nvSpPr>
        <p:spPr>
          <a:xfrm rot="2700000">
            <a:off x="9629734" y="2294691"/>
            <a:ext cx="2110257" cy="2110256"/>
          </a:xfrm>
          <a:prstGeom prst="rect">
            <a:avLst/>
          </a:pr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898C86-3077-43FB-932C-838840F63C62}"/>
              </a:ext>
            </a:extLst>
          </p:cNvPr>
          <p:cNvSpPr txBox="1"/>
          <p:nvPr/>
        </p:nvSpPr>
        <p:spPr>
          <a:xfrm>
            <a:off x="9435181" y="2779192"/>
            <a:ext cx="24993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28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28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Nhập</a:t>
            </a:r>
            <a:r>
              <a:rPr lang="en-US" sz="28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Sách</a:t>
            </a:r>
            <a:endParaRPr lang="en-US" sz="28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21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2000550-E068-4B23-99EA-D6FE50D66D1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674" r="10769"/>
          <a:stretch/>
        </p:blipFill>
        <p:spPr>
          <a:xfrm>
            <a:off x="2772326" y="1471325"/>
            <a:ext cx="9730203" cy="41985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C08FD4-B580-40EE-9F4B-4BB2FAE472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102" b="52061"/>
          <a:stretch/>
        </p:blipFill>
        <p:spPr>
          <a:xfrm>
            <a:off x="2918033" y="1188143"/>
            <a:ext cx="9437560" cy="4888833"/>
          </a:xfrm>
          <a:prstGeom prst="rect">
            <a:avLst/>
          </a:prstGeom>
        </p:spPr>
      </p:pic>
      <p:sp>
        <p:nvSpPr>
          <p:cNvPr id="20" name="三角形 19"/>
          <p:cNvSpPr/>
          <p:nvPr/>
        </p:nvSpPr>
        <p:spPr>
          <a:xfrm>
            <a:off x="-1512091" y="4230478"/>
            <a:ext cx="6046919" cy="3373071"/>
          </a:xfrm>
          <a:prstGeom prst="triangle">
            <a:avLst/>
          </a:prstGeom>
          <a:blipFill dpi="0" rotWithShape="1">
            <a:blip r:embed="rId3"/>
            <a:srcRect/>
            <a:stretch>
              <a:fillRect l="8000" t="-2000" r="-18000" b="-5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1" name="三角形 20"/>
          <p:cNvSpPr/>
          <p:nvPr/>
        </p:nvSpPr>
        <p:spPr>
          <a:xfrm rot="10800000">
            <a:off x="-999067" y="-41274"/>
            <a:ext cx="5020874" cy="2800726"/>
          </a:xfrm>
          <a:prstGeom prst="triangle">
            <a:avLst/>
          </a:prstGeom>
          <a:blipFill dpi="0" rotWithShape="0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2" name="矩形 21"/>
          <p:cNvSpPr/>
          <p:nvPr/>
        </p:nvSpPr>
        <p:spPr>
          <a:xfrm rot="2700000">
            <a:off x="456242" y="2848072"/>
            <a:ext cx="2110257" cy="2110256"/>
          </a:xfrm>
          <a:prstGeom prst="rect">
            <a:avLst/>
          </a:pr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898C86-3077-43FB-932C-838840F63C62}"/>
              </a:ext>
            </a:extLst>
          </p:cNvPr>
          <p:cNvSpPr txBox="1"/>
          <p:nvPr/>
        </p:nvSpPr>
        <p:spPr>
          <a:xfrm>
            <a:off x="271737" y="3570591"/>
            <a:ext cx="24993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24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24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Khách</a:t>
            </a:r>
            <a:r>
              <a:rPr lang="en-US" sz="24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Hàng</a:t>
            </a:r>
            <a:endParaRPr lang="en-US" sz="24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168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C5B756B-D8D0-4223-9527-DE08320C5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830" r="9488"/>
          <a:stretch/>
        </p:blipFill>
        <p:spPr>
          <a:xfrm>
            <a:off x="-121898" y="1269220"/>
            <a:ext cx="9557080" cy="41611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9A191F-B08C-4B48-A83D-8DE06370B5F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923" b="53320"/>
          <a:stretch/>
        </p:blipFill>
        <p:spPr>
          <a:xfrm>
            <a:off x="95212" y="927882"/>
            <a:ext cx="9218721" cy="5002235"/>
          </a:xfrm>
          <a:prstGeom prst="rect">
            <a:avLst/>
          </a:prstGeom>
        </p:spPr>
      </p:pic>
      <p:sp>
        <p:nvSpPr>
          <p:cNvPr id="20" name="三角形 19"/>
          <p:cNvSpPr/>
          <p:nvPr/>
        </p:nvSpPr>
        <p:spPr>
          <a:xfrm>
            <a:off x="7661402" y="4049340"/>
            <a:ext cx="6046919" cy="3373071"/>
          </a:xfrm>
          <a:prstGeom prst="triangle">
            <a:avLst/>
          </a:prstGeom>
          <a:blipFill dpi="0" rotWithShape="1">
            <a:blip r:embed="rId3"/>
            <a:srcRect/>
            <a:stretch>
              <a:fillRect l="8000" t="-2000" r="-18000" b="-5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1" name="三角形 20"/>
          <p:cNvSpPr/>
          <p:nvPr/>
        </p:nvSpPr>
        <p:spPr>
          <a:xfrm rot="10800000">
            <a:off x="8174426" y="-41274"/>
            <a:ext cx="5020874" cy="2800726"/>
          </a:xfrm>
          <a:prstGeom prst="triangle">
            <a:avLst/>
          </a:prstGeom>
          <a:blipFill dpi="0" rotWithShape="0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2" name="矩形 21"/>
          <p:cNvSpPr/>
          <p:nvPr/>
        </p:nvSpPr>
        <p:spPr>
          <a:xfrm rot="2700000">
            <a:off x="9629734" y="2294691"/>
            <a:ext cx="2110257" cy="2110256"/>
          </a:xfrm>
          <a:prstGeom prst="rect">
            <a:avLst/>
          </a:pr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898C86-3077-43FB-932C-838840F63C62}"/>
              </a:ext>
            </a:extLst>
          </p:cNvPr>
          <p:cNvSpPr txBox="1"/>
          <p:nvPr/>
        </p:nvSpPr>
        <p:spPr>
          <a:xfrm>
            <a:off x="9435181" y="2779192"/>
            <a:ext cx="24993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32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32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NPP</a:t>
            </a:r>
          </a:p>
        </p:txBody>
      </p:sp>
    </p:spTree>
    <p:extLst>
      <p:ext uri="{BB962C8B-B14F-4D97-AF65-F5344CB8AC3E}">
        <p14:creationId xmlns:p14="http://schemas.microsoft.com/office/powerpoint/2010/main" val="67228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43A59001-8FE1-45CE-9A9A-78C4211763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7785" y="487613"/>
            <a:ext cx="10539289" cy="6165480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5B9D5631-4CC1-4A0F-A85C-EE30775173C6}"/>
              </a:ext>
            </a:extLst>
          </p:cNvPr>
          <p:cNvGrpSpPr/>
          <p:nvPr/>
        </p:nvGrpSpPr>
        <p:grpSpPr>
          <a:xfrm>
            <a:off x="-18184" y="5931250"/>
            <a:ext cx="1222813" cy="921611"/>
            <a:chOff x="445472" y="1284948"/>
            <a:chExt cx="5293723" cy="3989778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9706A04-A31D-4EE8-9CEA-C6C5F3A32FCF}"/>
                </a:ext>
              </a:extLst>
            </p:cNvPr>
            <p:cNvSpPr/>
            <p:nvPr/>
          </p:nvSpPr>
          <p:spPr>
            <a:xfrm>
              <a:off x="445472" y="1284948"/>
              <a:ext cx="5293723" cy="3989778"/>
            </a:xfrm>
            <a:custGeom>
              <a:avLst/>
              <a:gdLst>
                <a:gd name="connsiteX0" fmla="*/ 5189700 w 5293723"/>
                <a:gd name="connsiteY0" fmla="*/ 2453680 h 3989778"/>
                <a:gd name="connsiteX1" fmla="*/ 4879689 w 5293723"/>
                <a:gd name="connsiteY1" fmla="*/ 2907075 h 3989778"/>
                <a:gd name="connsiteX2" fmla="*/ 4853661 w 5293723"/>
                <a:gd name="connsiteY2" fmla="*/ 3136621 h 3989778"/>
                <a:gd name="connsiteX3" fmla="*/ 4323512 w 5293723"/>
                <a:gd name="connsiteY3" fmla="*/ 3754369 h 3989778"/>
                <a:gd name="connsiteX4" fmla="*/ 4289503 w 5293723"/>
                <a:gd name="connsiteY4" fmla="*/ 3769928 h 3989778"/>
                <a:gd name="connsiteX5" fmla="*/ 3728169 w 5293723"/>
                <a:gd name="connsiteY5" fmla="*/ 3914668 h 3989778"/>
                <a:gd name="connsiteX6" fmla="*/ 3372117 w 5293723"/>
                <a:gd name="connsiteY6" fmla="*/ 3948744 h 3989778"/>
                <a:gd name="connsiteX7" fmla="*/ 1889100 w 5293723"/>
                <a:gd name="connsiteY7" fmla="*/ 3986764 h 3989778"/>
                <a:gd name="connsiteX8" fmla="*/ 1181048 w 5293723"/>
                <a:gd name="connsiteY8" fmla="*/ 3901410 h 3989778"/>
                <a:gd name="connsiteX9" fmla="*/ 1146670 w 5293723"/>
                <a:gd name="connsiteY9" fmla="*/ 3890454 h 3989778"/>
                <a:gd name="connsiteX10" fmla="*/ 658757 w 5293723"/>
                <a:gd name="connsiteY10" fmla="*/ 3604479 h 3989778"/>
                <a:gd name="connsiteX11" fmla="*/ 652127 w 5293723"/>
                <a:gd name="connsiteY11" fmla="*/ 3599001 h 3989778"/>
                <a:gd name="connsiteX12" fmla="*/ 147024 w 5293723"/>
                <a:gd name="connsiteY12" fmla="*/ 2964489 h 3989778"/>
                <a:gd name="connsiteX13" fmla="*/ 66606 w 5293723"/>
                <a:gd name="connsiteY13" fmla="*/ 1878554 h 3989778"/>
                <a:gd name="connsiteX14" fmla="*/ 270660 w 5293723"/>
                <a:gd name="connsiteY14" fmla="*/ 1239111 h 3989778"/>
                <a:gd name="connsiteX15" fmla="*/ 269678 w 5293723"/>
                <a:gd name="connsiteY15" fmla="*/ 738930 h 3989778"/>
                <a:gd name="connsiteX16" fmla="*/ 1028437 w 5293723"/>
                <a:gd name="connsiteY16" fmla="*/ 89298 h 3989778"/>
                <a:gd name="connsiteX17" fmla="*/ 2135512 w 5293723"/>
                <a:gd name="connsiteY17" fmla="*/ 100254 h 3989778"/>
                <a:gd name="connsiteX18" fmla="*/ 2703353 w 5293723"/>
                <a:gd name="connsiteY18" fmla="*/ 135316 h 3989778"/>
                <a:gd name="connsiteX19" fmla="*/ 3341791 w 5293723"/>
                <a:gd name="connsiteY19" fmla="*/ -1 h 3989778"/>
                <a:gd name="connsiteX20" fmla="*/ 3624177 w 5293723"/>
                <a:gd name="connsiteY20" fmla="*/ 43827 h 3989778"/>
                <a:gd name="connsiteX21" fmla="*/ 3902511 w 5293723"/>
                <a:gd name="connsiteY21" fmla="*/ 230093 h 3989778"/>
                <a:gd name="connsiteX22" fmla="*/ 4668514 w 5293723"/>
                <a:gd name="connsiteY22" fmla="*/ 769171 h 3989778"/>
                <a:gd name="connsiteX23" fmla="*/ 5231567 w 5293723"/>
                <a:gd name="connsiteY23" fmla="*/ 1465151 h 3989778"/>
                <a:gd name="connsiteX24" fmla="*/ 5291850 w 5293723"/>
                <a:gd name="connsiteY24" fmla="*/ 1886333 h 3989778"/>
                <a:gd name="connsiteX25" fmla="*/ 5189700 w 5293723"/>
                <a:gd name="connsiteY25" fmla="*/ 2453680 h 3989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293723" h="3989778">
                  <a:moveTo>
                    <a:pt x="5189700" y="2453680"/>
                  </a:moveTo>
                  <a:cubicBezTo>
                    <a:pt x="5096144" y="2611020"/>
                    <a:pt x="4926713" y="2733847"/>
                    <a:pt x="4879689" y="2907075"/>
                  </a:cubicBezTo>
                  <a:cubicBezTo>
                    <a:pt x="4859431" y="2981801"/>
                    <a:pt x="4864097" y="3060471"/>
                    <a:pt x="4853661" y="3136621"/>
                  </a:cubicBezTo>
                  <a:cubicBezTo>
                    <a:pt x="4816828" y="3404517"/>
                    <a:pt x="4591779" y="3627818"/>
                    <a:pt x="4323512" y="3754369"/>
                  </a:cubicBezTo>
                  <a:cubicBezTo>
                    <a:pt x="4312216" y="3759848"/>
                    <a:pt x="4300798" y="3765326"/>
                    <a:pt x="4289503" y="3769928"/>
                  </a:cubicBezTo>
                  <a:cubicBezTo>
                    <a:pt x="4113318" y="3846626"/>
                    <a:pt x="3922647" y="3888481"/>
                    <a:pt x="3728169" y="3914668"/>
                  </a:cubicBezTo>
                  <a:cubicBezTo>
                    <a:pt x="3609935" y="3930336"/>
                    <a:pt x="3490351" y="3940307"/>
                    <a:pt x="3372117" y="3948744"/>
                  </a:cubicBezTo>
                  <a:cubicBezTo>
                    <a:pt x="2878469" y="3983510"/>
                    <a:pt x="2384135" y="3996187"/>
                    <a:pt x="1889100" y="3986764"/>
                  </a:cubicBezTo>
                  <a:cubicBezTo>
                    <a:pt x="1649931" y="3982382"/>
                    <a:pt x="1405974" y="3972301"/>
                    <a:pt x="1181048" y="3901410"/>
                  </a:cubicBezTo>
                  <a:cubicBezTo>
                    <a:pt x="1169507" y="3897904"/>
                    <a:pt x="1158089" y="3894069"/>
                    <a:pt x="1146670" y="3890454"/>
                  </a:cubicBezTo>
                  <a:cubicBezTo>
                    <a:pt x="964225" y="3827232"/>
                    <a:pt x="802160" y="3723361"/>
                    <a:pt x="658757" y="3604479"/>
                  </a:cubicBezTo>
                  <a:lnTo>
                    <a:pt x="652127" y="3599001"/>
                  </a:lnTo>
                  <a:cubicBezTo>
                    <a:pt x="438250" y="3420623"/>
                    <a:pt x="261329" y="3204554"/>
                    <a:pt x="147024" y="2964489"/>
                  </a:cubicBezTo>
                  <a:cubicBezTo>
                    <a:pt x="-16074" y="2620925"/>
                    <a:pt x="-44411" y="2238279"/>
                    <a:pt x="66606" y="1878554"/>
                  </a:cubicBezTo>
                  <a:cubicBezTo>
                    <a:pt x="134256" y="1664676"/>
                    <a:pt x="252367" y="1460659"/>
                    <a:pt x="270660" y="1239111"/>
                  </a:cubicBezTo>
                  <a:cubicBezTo>
                    <a:pt x="284411" y="1072567"/>
                    <a:pt x="240457" y="903831"/>
                    <a:pt x="269678" y="738930"/>
                  </a:cubicBezTo>
                  <a:cubicBezTo>
                    <a:pt x="327137" y="411101"/>
                    <a:pt x="668210" y="169940"/>
                    <a:pt x="1028437" y="89298"/>
                  </a:cubicBezTo>
                  <a:cubicBezTo>
                    <a:pt x="1388663" y="8655"/>
                    <a:pt x="1767674" y="53907"/>
                    <a:pt x="2135512" y="100254"/>
                  </a:cubicBezTo>
                  <a:cubicBezTo>
                    <a:pt x="2315134" y="123154"/>
                    <a:pt x="2525450" y="184294"/>
                    <a:pt x="2703353" y="135316"/>
                  </a:cubicBezTo>
                  <a:cubicBezTo>
                    <a:pt x="2922018" y="75273"/>
                    <a:pt x="3105815" y="437"/>
                    <a:pt x="3341791" y="-1"/>
                  </a:cubicBezTo>
                  <a:cubicBezTo>
                    <a:pt x="3438048" y="-1"/>
                    <a:pt x="3536146" y="8984"/>
                    <a:pt x="3624177" y="43827"/>
                  </a:cubicBezTo>
                  <a:cubicBezTo>
                    <a:pt x="3730992" y="85463"/>
                    <a:pt x="3815708" y="161065"/>
                    <a:pt x="3902511" y="230093"/>
                  </a:cubicBezTo>
                  <a:cubicBezTo>
                    <a:pt x="4144749" y="423811"/>
                    <a:pt x="4420996" y="580713"/>
                    <a:pt x="4668514" y="769171"/>
                  </a:cubicBezTo>
                  <a:cubicBezTo>
                    <a:pt x="4916031" y="957629"/>
                    <a:pt x="5140467" y="1186518"/>
                    <a:pt x="5231567" y="1465151"/>
                  </a:cubicBezTo>
                  <a:cubicBezTo>
                    <a:pt x="5276134" y="1601345"/>
                    <a:pt x="5287062" y="1744551"/>
                    <a:pt x="5291850" y="1886333"/>
                  </a:cubicBezTo>
                  <a:cubicBezTo>
                    <a:pt x="5298603" y="2080051"/>
                    <a:pt x="5291604" y="2282533"/>
                    <a:pt x="5189700" y="2453680"/>
                  </a:cubicBezTo>
                  <a:close/>
                </a:path>
              </a:pathLst>
            </a:custGeom>
            <a:solidFill>
              <a:srgbClr val="68E1FD">
                <a:alpha val="18000"/>
              </a:srgbClr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74A8539-F748-41D7-AB72-AF213680CD28}"/>
                </a:ext>
              </a:extLst>
            </p:cNvPr>
            <p:cNvSpPr/>
            <p:nvPr/>
          </p:nvSpPr>
          <p:spPr>
            <a:xfrm>
              <a:off x="1676140" y="2575338"/>
              <a:ext cx="2901330" cy="1844040"/>
            </a:xfrm>
            <a:custGeom>
              <a:avLst/>
              <a:gdLst>
                <a:gd name="connsiteX0" fmla="*/ 2706116 w 2901330"/>
                <a:gd name="connsiteY0" fmla="*/ 0 h 1844040"/>
                <a:gd name="connsiteX1" fmla="*/ 2901331 w 2901330"/>
                <a:gd name="connsiteY1" fmla="*/ 0 h 1844040"/>
                <a:gd name="connsiteX2" fmla="*/ 2901331 w 2901330"/>
                <a:gd name="connsiteY2" fmla="*/ 1844041 h 1844040"/>
                <a:gd name="connsiteX3" fmla="*/ 2706116 w 2901330"/>
                <a:gd name="connsiteY3" fmla="*/ 1844041 h 1844040"/>
                <a:gd name="connsiteX4" fmla="*/ 195215 w 2901330"/>
                <a:gd name="connsiteY4" fmla="*/ 1844041 h 1844040"/>
                <a:gd name="connsiteX5" fmla="*/ 0 w 2901330"/>
                <a:gd name="connsiteY5" fmla="*/ 1844041 h 1844040"/>
                <a:gd name="connsiteX6" fmla="*/ 0 w 2901330"/>
                <a:gd name="connsiteY6" fmla="*/ 0 h 1844040"/>
                <a:gd name="connsiteX7" fmla="*/ 195215 w 2901330"/>
                <a:gd name="connsiteY7" fmla="*/ 0 h 184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1330" h="1844040">
                  <a:moveTo>
                    <a:pt x="2706116" y="0"/>
                  </a:moveTo>
                  <a:cubicBezTo>
                    <a:pt x="2813931" y="0"/>
                    <a:pt x="2901331" y="0"/>
                    <a:pt x="2901331" y="0"/>
                  </a:cubicBezTo>
                  <a:lnTo>
                    <a:pt x="2901331" y="1844041"/>
                  </a:lnTo>
                  <a:cubicBezTo>
                    <a:pt x="2901331" y="1844041"/>
                    <a:pt x="2813930" y="1844041"/>
                    <a:pt x="2706116" y="1844041"/>
                  </a:cubicBezTo>
                  <a:lnTo>
                    <a:pt x="195215" y="1844041"/>
                  </a:lnTo>
                  <a:cubicBezTo>
                    <a:pt x="87401" y="1844041"/>
                    <a:pt x="0" y="1844041"/>
                    <a:pt x="0" y="1844041"/>
                  </a:cubicBezTo>
                  <a:lnTo>
                    <a:pt x="0" y="0"/>
                  </a:lnTo>
                  <a:cubicBezTo>
                    <a:pt x="0" y="0"/>
                    <a:pt x="87401" y="0"/>
                    <a:pt x="195215" y="0"/>
                  </a:cubicBezTo>
                  <a:close/>
                </a:path>
              </a:pathLst>
            </a:custGeom>
            <a:solidFill>
              <a:srgbClr val="C00000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5A1C24B-627B-4062-A9A4-0BBB82657117}"/>
                </a:ext>
              </a:extLst>
            </p:cNvPr>
            <p:cNvSpPr/>
            <p:nvPr/>
          </p:nvSpPr>
          <p:spPr>
            <a:xfrm>
              <a:off x="1633516" y="3689651"/>
              <a:ext cx="197690" cy="647970"/>
            </a:xfrm>
            <a:custGeom>
              <a:avLst/>
              <a:gdLst>
                <a:gd name="connsiteX0" fmla="*/ 197672 w 197690"/>
                <a:gd name="connsiteY0" fmla="*/ -1 h 647970"/>
                <a:gd name="connsiteX1" fmla="*/ 96995 w 197690"/>
                <a:gd name="connsiteY1" fmla="*/ 38458 h 647970"/>
                <a:gd name="connsiteX2" fmla="*/ 33151 w 197690"/>
                <a:gd name="connsiteY2" fmla="*/ 113512 h 647970"/>
                <a:gd name="connsiteX3" fmla="*/ 2 w 197690"/>
                <a:gd name="connsiteY3" fmla="*/ 318186 h 647970"/>
                <a:gd name="connsiteX4" fmla="*/ 17681 w 197690"/>
                <a:gd name="connsiteY4" fmla="*/ 544775 h 647970"/>
                <a:gd name="connsiteX5" fmla="*/ 90611 w 197690"/>
                <a:gd name="connsiteY5" fmla="*/ 647879 h 647970"/>
                <a:gd name="connsiteX6" fmla="*/ 137757 w 197690"/>
                <a:gd name="connsiteY6" fmla="*/ 253431 h 647970"/>
                <a:gd name="connsiteX7" fmla="*/ 164890 w 197690"/>
                <a:gd name="connsiteY7" fmla="*/ 121949 h 647970"/>
                <a:gd name="connsiteX8" fmla="*/ 197672 w 197690"/>
                <a:gd name="connsiteY8" fmla="*/ -1 h 647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7690" h="647970">
                  <a:moveTo>
                    <a:pt x="197672" y="-1"/>
                  </a:moveTo>
                  <a:cubicBezTo>
                    <a:pt x="167837" y="19064"/>
                    <a:pt x="128303" y="21913"/>
                    <a:pt x="96995" y="38458"/>
                  </a:cubicBezTo>
                  <a:cubicBezTo>
                    <a:pt x="67259" y="56734"/>
                    <a:pt x="44889" y="83041"/>
                    <a:pt x="33151" y="113512"/>
                  </a:cubicBezTo>
                  <a:cubicBezTo>
                    <a:pt x="3930" y="177829"/>
                    <a:pt x="-367" y="248829"/>
                    <a:pt x="2" y="318186"/>
                  </a:cubicBezTo>
                  <a:cubicBezTo>
                    <a:pt x="2" y="391488"/>
                    <a:pt x="-1226" y="473117"/>
                    <a:pt x="17681" y="544775"/>
                  </a:cubicBezTo>
                  <a:cubicBezTo>
                    <a:pt x="22838" y="564497"/>
                    <a:pt x="57215" y="651166"/>
                    <a:pt x="90611" y="647879"/>
                  </a:cubicBezTo>
                  <a:cubicBezTo>
                    <a:pt x="111728" y="645797"/>
                    <a:pt x="129899" y="298464"/>
                    <a:pt x="137757" y="253431"/>
                  </a:cubicBezTo>
                  <a:cubicBezTo>
                    <a:pt x="145615" y="208399"/>
                    <a:pt x="154454" y="165776"/>
                    <a:pt x="164890" y="121949"/>
                  </a:cubicBezTo>
                  <a:cubicBezTo>
                    <a:pt x="170170" y="100254"/>
                    <a:pt x="178273" y="12490"/>
                    <a:pt x="197672" y="-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8CFAFEDF-D233-4594-A58D-81B53CC22162}"/>
                </a:ext>
              </a:extLst>
            </p:cNvPr>
            <p:cNvSpPr/>
            <p:nvPr/>
          </p:nvSpPr>
          <p:spPr>
            <a:xfrm>
              <a:off x="1853307" y="2707039"/>
              <a:ext cx="2547120" cy="1543055"/>
            </a:xfrm>
            <a:custGeom>
              <a:avLst/>
              <a:gdLst>
                <a:gd name="connsiteX0" fmla="*/ 0 w 2547120"/>
                <a:gd name="connsiteY0" fmla="*/ 0 h 1543055"/>
                <a:gd name="connsiteX1" fmla="*/ 2547121 w 2547120"/>
                <a:gd name="connsiteY1" fmla="*/ 0 h 1543055"/>
                <a:gd name="connsiteX2" fmla="*/ 2547121 w 2547120"/>
                <a:gd name="connsiteY2" fmla="*/ 1543055 h 1543055"/>
                <a:gd name="connsiteX3" fmla="*/ 0 w 2547120"/>
                <a:gd name="connsiteY3" fmla="*/ 1543055 h 1543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7120" h="1543055">
                  <a:moveTo>
                    <a:pt x="0" y="0"/>
                  </a:moveTo>
                  <a:lnTo>
                    <a:pt x="2547121" y="0"/>
                  </a:lnTo>
                  <a:lnTo>
                    <a:pt x="2547121" y="1543055"/>
                  </a:lnTo>
                  <a:lnTo>
                    <a:pt x="0" y="1543055"/>
                  </a:lnTo>
                  <a:close/>
                </a:path>
              </a:pathLst>
            </a:custGeom>
            <a:solidFill>
              <a:srgbClr val="FFFFFF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C9A438E4-54E6-40BD-9318-5EE69B8422FD}"/>
                </a:ext>
              </a:extLst>
            </p:cNvPr>
            <p:cNvSpPr/>
            <p:nvPr/>
          </p:nvSpPr>
          <p:spPr>
            <a:xfrm>
              <a:off x="3196602" y="3623580"/>
              <a:ext cx="765481" cy="786322"/>
            </a:xfrm>
            <a:custGeom>
              <a:avLst/>
              <a:gdLst>
                <a:gd name="connsiteX0" fmla="*/ 325955 w 765481"/>
                <a:gd name="connsiteY0" fmla="*/ 669683 h 786322"/>
                <a:gd name="connsiteX1" fmla="*/ 309871 w 765481"/>
                <a:gd name="connsiteY1" fmla="*/ 574578 h 786322"/>
                <a:gd name="connsiteX2" fmla="*/ 267513 w 765481"/>
                <a:gd name="connsiteY2" fmla="*/ 551240 h 786322"/>
                <a:gd name="connsiteX3" fmla="*/ 173589 w 765481"/>
                <a:gd name="connsiteY3" fmla="*/ 426003 h 786322"/>
                <a:gd name="connsiteX4" fmla="*/ 173589 w 765481"/>
                <a:gd name="connsiteY4" fmla="*/ 341635 h 786322"/>
                <a:gd name="connsiteX5" fmla="*/ 107044 w 765481"/>
                <a:gd name="connsiteY5" fmla="*/ 181774 h 786322"/>
                <a:gd name="connsiteX6" fmla="*/ 5631 w 765481"/>
                <a:gd name="connsiteY6" fmla="*/ 35062 h 786322"/>
                <a:gd name="connsiteX7" fmla="*/ 7104 w 765481"/>
                <a:gd name="connsiteY7" fmla="*/ 2191 h 786322"/>
                <a:gd name="connsiteX8" fmla="*/ 43200 w 765481"/>
                <a:gd name="connsiteY8" fmla="*/ 13148 h 786322"/>
                <a:gd name="connsiteX9" fmla="*/ 402567 w 765481"/>
                <a:gd name="connsiteY9" fmla="*/ 263512 h 786322"/>
                <a:gd name="connsiteX10" fmla="*/ 526571 w 765481"/>
                <a:gd name="connsiteY10" fmla="*/ 323446 h 786322"/>
                <a:gd name="connsiteX11" fmla="*/ 673903 w 765481"/>
                <a:gd name="connsiteY11" fmla="*/ 484293 h 786322"/>
                <a:gd name="connsiteX12" fmla="*/ 754199 w 765481"/>
                <a:gd name="connsiteY12" fmla="*/ 681517 h 786322"/>
                <a:gd name="connsiteX13" fmla="*/ 761075 w 765481"/>
                <a:gd name="connsiteY13" fmla="*/ 756900 h 786322"/>
                <a:gd name="connsiteX14" fmla="*/ 745850 w 765481"/>
                <a:gd name="connsiteY14" fmla="*/ 775088 h 786322"/>
                <a:gd name="connsiteX15" fmla="*/ 723259 w 765481"/>
                <a:gd name="connsiteY15" fmla="*/ 779471 h 786322"/>
                <a:gd name="connsiteX16" fmla="*/ 427122 w 765481"/>
                <a:gd name="connsiteY16" fmla="*/ 785497 h 786322"/>
                <a:gd name="connsiteX17" fmla="*/ 353456 w 765481"/>
                <a:gd name="connsiteY17" fmla="*/ 775198 h 786322"/>
                <a:gd name="connsiteX18" fmla="*/ 325955 w 765481"/>
                <a:gd name="connsiteY18" fmla="*/ 669683 h 786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65481" h="786322">
                  <a:moveTo>
                    <a:pt x="325955" y="669683"/>
                  </a:moveTo>
                  <a:cubicBezTo>
                    <a:pt x="327673" y="636813"/>
                    <a:pt x="335285" y="598573"/>
                    <a:pt x="309871" y="574578"/>
                  </a:cubicBezTo>
                  <a:cubicBezTo>
                    <a:pt x="297237" y="564826"/>
                    <a:pt x="282946" y="556948"/>
                    <a:pt x="267513" y="551240"/>
                  </a:cubicBezTo>
                  <a:cubicBezTo>
                    <a:pt x="215345" y="525513"/>
                    <a:pt x="180342" y="478848"/>
                    <a:pt x="173589" y="426003"/>
                  </a:cubicBezTo>
                  <a:cubicBezTo>
                    <a:pt x="170397" y="398063"/>
                    <a:pt x="175431" y="369794"/>
                    <a:pt x="173589" y="341635"/>
                  </a:cubicBezTo>
                  <a:cubicBezTo>
                    <a:pt x="170765" y="284221"/>
                    <a:pt x="141299" y="230532"/>
                    <a:pt x="107044" y="181774"/>
                  </a:cubicBezTo>
                  <a:cubicBezTo>
                    <a:pt x="72789" y="133016"/>
                    <a:pt x="33378" y="87107"/>
                    <a:pt x="5631" y="35062"/>
                  </a:cubicBezTo>
                  <a:cubicBezTo>
                    <a:pt x="-140" y="24105"/>
                    <a:pt x="-4069" y="8656"/>
                    <a:pt x="7104" y="2191"/>
                  </a:cubicBezTo>
                  <a:cubicBezTo>
                    <a:pt x="18277" y="-4274"/>
                    <a:pt x="33378" y="4821"/>
                    <a:pt x="43200" y="13148"/>
                  </a:cubicBezTo>
                  <a:cubicBezTo>
                    <a:pt x="149647" y="110773"/>
                    <a:pt x="267513" y="200949"/>
                    <a:pt x="402567" y="263512"/>
                  </a:cubicBezTo>
                  <a:cubicBezTo>
                    <a:pt x="444311" y="282906"/>
                    <a:pt x="487897" y="299560"/>
                    <a:pt x="526571" y="323446"/>
                  </a:cubicBezTo>
                  <a:cubicBezTo>
                    <a:pt x="590906" y="363329"/>
                    <a:pt x="638789" y="422058"/>
                    <a:pt x="673903" y="484293"/>
                  </a:cubicBezTo>
                  <a:cubicBezTo>
                    <a:pt x="709017" y="546528"/>
                    <a:pt x="731485" y="614351"/>
                    <a:pt x="754199" y="681517"/>
                  </a:cubicBezTo>
                  <a:cubicBezTo>
                    <a:pt x="762548" y="706060"/>
                    <a:pt x="770774" y="732795"/>
                    <a:pt x="761075" y="756900"/>
                  </a:cubicBezTo>
                  <a:cubicBezTo>
                    <a:pt x="758582" y="764384"/>
                    <a:pt x="753180" y="770826"/>
                    <a:pt x="745850" y="775088"/>
                  </a:cubicBezTo>
                  <a:cubicBezTo>
                    <a:pt x="738803" y="778101"/>
                    <a:pt x="731068" y="779602"/>
                    <a:pt x="723259" y="779471"/>
                  </a:cubicBezTo>
                  <a:cubicBezTo>
                    <a:pt x="625038" y="784292"/>
                    <a:pt x="525957" y="784402"/>
                    <a:pt x="427122" y="785497"/>
                  </a:cubicBezTo>
                  <a:cubicBezTo>
                    <a:pt x="402567" y="785497"/>
                    <a:pt x="373469" y="790647"/>
                    <a:pt x="353456" y="775198"/>
                  </a:cubicBezTo>
                  <a:cubicBezTo>
                    <a:pt x="325218" y="752846"/>
                    <a:pt x="324359" y="699596"/>
                    <a:pt x="325955" y="66968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0275A25-5D0F-40AC-B91F-3AC948229F83}"/>
                </a:ext>
              </a:extLst>
            </p:cNvPr>
            <p:cNvSpPr/>
            <p:nvPr/>
          </p:nvSpPr>
          <p:spPr>
            <a:xfrm>
              <a:off x="2165405" y="2986877"/>
              <a:ext cx="75875" cy="619720"/>
            </a:xfrm>
            <a:custGeom>
              <a:avLst/>
              <a:gdLst>
                <a:gd name="connsiteX0" fmla="*/ 0 w 75875"/>
                <a:gd name="connsiteY0" fmla="*/ 0 h 619720"/>
                <a:gd name="connsiteX1" fmla="*/ 75876 w 75875"/>
                <a:gd name="connsiteY1" fmla="*/ 0 h 619720"/>
                <a:gd name="connsiteX2" fmla="*/ 75876 w 75875"/>
                <a:gd name="connsiteY2" fmla="*/ 619720 h 619720"/>
                <a:gd name="connsiteX3" fmla="*/ 0 w 75875"/>
                <a:gd name="connsiteY3" fmla="*/ 619720 h 61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75" h="619720">
                  <a:moveTo>
                    <a:pt x="0" y="0"/>
                  </a:moveTo>
                  <a:lnTo>
                    <a:pt x="75876" y="0"/>
                  </a:lnTo>
                  <a:lnTo>
                    <a:pt x="75876" y="619720"/>
                  </a:lnTo>
                  <a:lnTo>
                    <a:pt x="0" y="619720"/>
                  </a:lnTo>
                  <a:close/>
                </a:path>
              </a:pathLst>
            </a:custGeom>
            <a:solidFill>
              <a:srgbClr val="00B050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CA909EE-8C13-4421-A33C-5760B6D6EAAC}"/>
                </a:ext>
              </a:extLst>
            </p:cNvPr>
            <p:cNvSpPr/>
            <p:nvPr/>
          </p:nvSpPr>
          <p:spPr>
            <a:xfrm>
              <a:off x="2297512" y="3088228"/>
              <a:ext cx="75875" cy="518369"/>
            </a:xfrm>
            <a:custGeom>
              <a:avLst/>
              <a:gdLst>
                <a:gd name="connsiteX0" fmla="*/ 0 w 75875"/>
                <a:gd name="connsiteY0" fmla="*/ 0 h 518369"/>
                <a:gd name="connsiteX1" fmla="*/ 75876 w 75875"/>
                <a:gd name="connsiteY1" fmla="*/ 0 h 518369"/>
                <a:gd name="connsiteX2" fmla="*/ 75876 w 75875"/>
                <a:gd name="connsiteY2" fmla="*/ 518369 h 518369"/>
                <a:gd name="connsiteX3" fmla="*/ 0 w 75875"/>
                <a:gd name="connsiteY3" fmla="*/ 518369 h 51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75" h="518369">
                  <a:moveTo>
                    <a:pt x="0" y="0"/>
                  </a:moveTo>
                  <a:lnTo>
                    <a:pt x="75876" y="0"/>
                  </a:lnTo>
                  <a:lnTo>
                    <a:pt x="75876" y="518369"/>
                  </a:lnTo>
                  <a:lnTo>
                    <a:pt x="0" y="51836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EA24CCB2-0C7E-410C-A88B-8454F0951B16}"/>
                </a:ext>
              </a:extLst>
            </p:cNvPr>
            <p:cNvSpPr/>
            <p:nvPr/>
          </p:nvSpPr>
          <p:spPr>
            <a:xfrm>
              <a:off x="2426796" y="3180704"/>
              <a:ext cx="75875" cy="425783"/>
            </a:xfrm>
            <a:custGeom>
              <a:avLst/>
              <a:gdLst>
                <a:gd name="connsiteX0" fmla="*/ 0 w 75875"/>
                <a:gd name="connsiteY0" fmla="*/ 0 h 425783"/>
                <a:gd name="connsiteX1" fmla="*/ 75876 w 75875"/>
                <a:gd name="connsiteY1" fmla="*/ 0 h 425783"/>
                <a:gd name="connsiteX2" fmla="*/ 75876 w 75875"/>
                <a:gd name="connsiteY2" fmla="*/ 425784 h 425783"/>
                <a:gd name="connsiteX3" fmla="*/ 0 w 75875"/>
                <a:gd name="connsiteY3" fmla="*/ 425784 h 425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75" h="425783">
                  <a:moveTo>
                    <a:pt x="0" y="0"/>
                  </a:moveTo>
                  <a:lnTo>
                    <a:pt x="75876" y="0"/>
                  </a:lnTo>
                  <a:lnTo>
                    <a:pt x="75876" y="425784"/>
                  </a:lnTo>
                  <a:lnTo>
                    <a:pt x="0" y="425784"/>
                  </a:lnTo>
                  <a:close/>
                </a:path>
              </a:pathLst>
            </a:custGeom>
            <a:solidFill>
              <a:srgbClr val="FF0000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2438477-D7FA-4527-ADBA-84C219BED522}"/>
                </a:ext>
              </a:extLst>
            </p:cNvPr>
            <p:cNvSpPr/>
            <p:nvPr/>
          </p:nvSpPr>
          <p:spPr>
            <a:xfrm>
              <a:off x="2558903" y="3088228"/>
              <a:ext cx="75875" cy="518369"/>
            </a:xfrm>
            <a:custGeom>
              <a:avLst/>
              <a:gdLst>
                <a:gd name="connsiteX0" fmla="*/ 0 w 75875"/>
                <a:gd name="connsiteY0" fmla="*/ 0 h 518369"/>
                <a:gd name="connsiteX1" fmla="*/ 75876 w 75875"/>
                <a:gd name="connsiteY1" fmla="*/ 0 h 518369"/>
                <a:gd name="connsiteX2" fmla="*/ 75876 w 75875"/>
                <a:gd name="connsiteY2" fmla="*/ 518369 h 518369"/>
                <a:gd name="connsiteX3" fmla="*/ 0 w 75875"/>
                <a:gd name="connsiteY3" fmla="*/ 518369 h 51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75" h="518369">
                  <a:moveTo>
                    <a:pt x="0" y="0"/>
                  </a:moveTo>
                  <a:lnTo>
                    <a:pt x="75876" y="0"/>
                  </a:lnTo>
                  <a:lnTo>
                    <a:pt x="75876" y="518369"/>
                  </a:lnTo>
                  <a:lnTo>
                    <a:pt x="0" y="518369"/>
                  </a:lnTo>
                  <a:close/>
                </a:path>
              </a:pathLst>
            </a:custGeom>
            <a:solidFill>
              <a:srgbClr val="00B050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908A8476-260F-45FB-AB89-D2E8394F6AA6}"/>
                </a:ext>
              </a:extLst>
            </p:cNvPr>
            <p:cNvSpPr/>
            <p:nvPr/>
          </p:nvSpPr>
          <p:spPr>
            <a:xfrm>
              <a:off x="2688310" y="3296628"/>
              <a:ext cx="75875" cy="309860"/>
            </a:xfrm>
            <a:custGeom>
              <a:avLst/>
              <a:gdLst>
                <a:gd name="connsiteX0" fmla="*/ 0 w 75875"/>
                <a:gd name="connsiteY0" fmla="*/ 0 h 309860"/>
                <a:gd name="connsiteX1" fmla="*/ 75876 w 75875"/>
                <a:gd name="connsiteY1" fmla="*/ 0 h 309860"/>
                <a:gd name="connsiteX2" fmla="*/ 75876 w 75875"/>
                <a:gd name="connsiteY2" fmla="*/ 309860 h 309860"/>
                <a:gd name="connsiteX3" fmla="*/ 0 w 75875"/>
                <a:gd name="connsiteY3" fmla="*/ 309860 h 309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75" h="309860">
                  <a:moveTo>
                    <a:pt x="0" y="0"/>
                  </a:moveTo>
                  <a:lnTo>
                    <a:pt x="75876" y="0"/>
                  </a:lnTo>
                  <a:lnTo>
                    <a:pt x="75876" y="309860"/>
                  </a:lnTo>
                  <a:lnTo>
                    <a:pt x="0" y="309860"/>
                  </a:lnTo>
                  <a:close/>
                </a:path>
              </a:pathLst>
            </a:custGeom>
            <a:solidFill>
              <a:srgbClr val="FF0000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C068B864-B9B7-40AE-A71A-0B79A6C69018}"/>
                </a:ext>
              </a:extLst>
            </p:cNvPr>
            <p:cNvSpPr/>
            <p:nvPr/>
          </p:nvSpPr>
          <p:spPr>
            <a:xfrm>
              <a:off x="2820417" y="3088228"/>
              <a:ext cx="75875" cy="518369"/>
            </a:xfrm>
            <a:custGeom>
              <a:avLst/>
              <a:gdLst>
                <a:gd name="connsiteX0" fmla="*/ 0 w 75875"/>
                <a:gd name="connsiteY0" fmla="*/ 0 h 518369"/>
                <a:gd name="connsiteX1" fmla="*/ 75876 w 75875"/>
                <a:gd name="connsiteY1" fmla="*/ 0 h 518369"/>
                <a:gd name="connsiteX2" fmla="*/ 75876 w 75875"/>
                <a:gd name="connsiteY2" fmla="*/ 518369 h 518369"/>
                <a:gd name="connsiteX3" fmla="*/ 0 w 75875"/>
                <a:gd name="connsiteY3" fmla="*/ 518369 h 51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75" h="518369">
                  <a:moveTo>
                    <a:pt x="0" y="0"/>
                  </a:moveTo>
                  <a:lnTo>
                    <a:pt x="75876" y="0"/>
                  </a:lnTo>
                  <a:lnTo>
                    <a:pt x="75876" y="518369"/>
                  </a:lnTo>
                  <a:lnTo>
                    <a:pt x="0" y="518369"/>
                  </a:lnTo>
                  <a:close/>
                </a:path>
              </a:pathLst>
            </a:custGeom>
            <a:solidFill>
              <a:srgbClr val="00B050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2C72E2E-7A3A-4031-8973-1FFEB7F2121D}"/>
                </a:ext>
              </a:extLst>
            </p:cNvPr>
            <p:cNvSpPr/>
            <p:nvPr/>
          </p:nvSpPr>
          <p:spPr>
            <a:xfrm>
              <a:off x="2949701" y="3243816"/>
              <a:ext cx="75875" cy="362781"/>
            </a:xfrm>
            <a:custGeom>
              <a:avLst/>
              <a:gdLst>
                <a:gd name="connsiteX0" fmla="*/ 0 w 75875"/>
                <a:gd name="connsiteY0" fmla="*/ 0 h 362781"/>
                <a:gd name="connsiteX1" fmla="*/ 75876 w 75875"/>
                <a:gd name="connsiteY1" fmla="*/ 0 h 362781"/>
                <a:gd name="connsiteX2" fmla="*/ 75876 w 75875"/>
                <a:gd name="connsiteY2" fmla="*/ 362782 h 362781"/>
                <a:gd name="connsiteX3" fmla="*/ 0 w 75875"/>
                <a:gd name="connsiteY3" fmla="*/ 362782 h 36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75" h="362781">
                  <a:moveTo>
                    <a:pt x="0" y="0"/>
                  </a:moveTo>
                  <a:lnTo>
                    <a:pt x="75876" y="0"/>
                  </a:lnTo>
                  <a:lnTo>
                    <a:pt x="75876" y="362782"/>
                  </a:lnTo>
                  <a:lnTo>
                    <a:pt x="0" y="362782"/>
                  </a:lnTo>
                  <a:close/>
                </a:path>
              </a:pathLst>
            </a:custGeom>
            <a:solidFill>
              <a:srgbClr val="FF0000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68FA3144-1CE8-41B5-B6A4-7944C1DF6E13}"/>
                </a:ext>
              </a:extLst>
            </p:cNvPr>
            <p:cNvSpPr/>
            <p:nvPr/>
          </p:nvSpPr>
          <p:spPr>
            <a:xfrm>
              <a:off x="3081808" y="3174021"/>
              <a:ext cx="75875" cy="432577"/>
            </a:xfrm>
            <a:custGeom>
              <a:avLst/>
              <a:gdLst>
                <a:gd name="connsiteX0" fmla="*/ 0 w 75875"/>
                <a:gd name="connsiteY0" fmla="*/ 0 h 432577"/>
                <a:gd name="connsiteX1" fmla="*/ 75876 w 75875"/>
                <a:gd name="connsiteY1" fmla="*/ 0 h 432577"/>
                <a:gd name="connsiteX2" fmla="*/ 75876 w 75875"/>
                <a:gd name="connsiteY2" fmla="*/ 432577 h 432577"/>
                <a:gd name="connsiteX3" fmla="*/ 0 w 75875"/>
                <a:gd name="connsiteY3" fmla="*/ 432577 h 43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75" h="432577">
                  <a:moveTo>
                    <a:pt x="0" y="0"/>
                  </a:moveTo>
                  <a:lnTo>
                    <a:pt x="75876" y="0"/>
                  </a:lnTo>
                  <a:lnTo>
                    <a:pt x="75876" y="432577"/>
                  </a:lnTo>
                  <a:lnTo>
                    <a:pt x="0" y="432577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D224531-71F8-41B9-917E-D9E224A70730}"/>
                </a:ext>
              </a:extLst>
            </p:cNvPr>
            <p:cNvSpPr/>
            <p:nvPr/>
          </p:nvSpPr>
          <p:spPr>
            <a:xfrm>
              <a:off x="2131641" y="3802287"/>
              <a:ext cx="434383" cy="22571"/>
            </a:xfrm>
            <a:custGeom>
              <a:avLst/>
              <a:gdLst>
                <a:gd name="connsiteX0" fmla="*/ 0 w 434383"/>
                <a:gd name="connsiteY0" fmla="*/ 0 h 22571"/>
                <a:gd name="connsiteX1" fmla="*/ 434383 w 434383"/>
                <a:gd name="connsiteY1" fmla="*/ 0 h 22571"/>
                <a:gd name="connsiteX2" fmla="*/ 434383 w 434383"/>
                <a:gd name="connsiteY2" fmla="*/ 22571 h 22571"/>
                <a:gd name="connsiteX3" fmla="*/ 0 w 434383"/>
                <a:gd name="connsiteY3" fmla="*/ 22571 h 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383" h="22571">
                  <a:moveTo>
                    <a:pt x="0" y="0"/>
                  </a:moveTo>
                  <a:lnTo>
                    <a:pt x="434383" y="0"/>
                  </a:lnTo>
                  <a:lnTo>
                    <a:pt x="434383" y="22571"/>
                  </a:lnTo>
                  <a:lnTo>
                    <a:pt x="0" y="22571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B349A6D-3433-47E4-A7A8-BA25652EE63B}"/>
                </a:ext>
              </a:extLst>
            </p:cNvPr>
            <p:cNvSpPr/>
            <p:nvPr/>
          </p:nvSpPr>
          <p:spPr>
            <a:xfrm>
              <a:off x="2131641" y="3864961"/>
              <a:ext cx="434383" cy="22571"/>
            </a:xfrm>
            <a:custGeom>
              <a:avLst/>
              <a:gdLst>
                <a:gd name="connsiteX0" fmla="*/ 0 w 434383"/>
                <a:gd name="connsiteY0" fmla="*/ 0 h 22571"/>
                <a:gd name="connsiteX1" fmla="*/ 434383 w 434383"/>
                <a:gd name="connsiteY1" fmla="*/ 0 h 22571"/>
                <a:gd name="connsiteX2" fmla="*/ 434383 w 434383"/>
                <a:gd name="connsiteY2" fmla="*/ 22571 h 22571"/>
                <a:gd name="connsiteX3" fmla="*/ 0 w 434383"/>
                <a:gd name="connsiteY3" fmla="*/ 22571 h 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383" h="22571">
                  <a:moveTo>
                    <a:pt x="0" y="0"/>
                  </a:moveTo>
                  <a:lnTo>
                    <a:pt x="434383" y="0"/>
                  </a:lnTo>
                  <a:lnTo>
                    <a:pt x="434383" y="22571"/>
                  </a:lnTo>
                  <a:lnTo>
                    <a:pt x="0" y="22571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BC94332C-E9B5-4CEA-91C1-4200CFAB15EE}"/>
                </a:ext>
              </a:extLst>
            </p:cNvPr>
            <p:cNvSpPr/>
            <p:nvPr/>
          </p:nvSpPr>
          <p:spPr>
            <a:xfrm>
              <a:off x="2131641" y="3927634"/>
              <a:ext cx="434383" cy="22571"/>
            </a:xfrm>
            <a:custGeom>
              <a:avLst/>
              <a:gdLst>
                <a:gd name="connsiteX0" fmla="*/ 0 w 434383"/>
                <a:gd name="connsiteY0" fmla="*/ 0 h 22571"/>
                <a:gd name="connsiteX1" fmla="*/ 434383 w 434383"/>
                <a:gd name="connsiteY1" fmla="*/ 0 h 22571"/>
                <a:gd name="connsiteX2" fmla="*/ 434383 w 434383"/>
                <a:gd name="connsiteY2" fmla="*/ 22571 h 22571"/>
                <a:gd name="connsiteX3" fmla="*/ 0 w 434383"/>
                <a:gd name="connsiteY3" fmla="*/ 22571 h 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383" h="22571">
                  <a:moveTo>
                    <a:pt x="0" y="0"/>
                  </a:moveTo>
                  <a:lnTo>
                    <a:pt x="434383" y="0"/>
                  </a:lnTo>
                  <a:lnTo>
                    <a:pt x="434383" y="22571"/>
                  </a:lnTo>
                  <a:lnTo>
                    <a:pt x="0" y="22571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F4FB74D4-6F48-4673-9096-E858A170CD51}"/>
                </a:ext>
              </a:extLst>
            </p:cNvPr>
            <p:cNvSpPr/>
            <p:nvPr/>
          </p:nvSpPr>
          <p:spPr>
            <a:xfrm>
              <a:off x="2131641" y="3990417"/>
              <a:ext cx="434383" cy="22571"/>
            </a:xfrm>
            <a:custGeom>
              <a:avLst/>
              <a:gdLst>
                <a:gd name="connsiteX0" fmla="*/ 0 w 434383"/>
                <a:gd name="connsiteY0" fmla="*/ 0 h 22571"/>
                <a:gd name="connsiteX1" fmla="*/ 434383 w 434383"/>
                <a:gd name="connsiteY1" fmla="*/ 0 h 22571"/>
                <a:gd name="connsiteX2" fmla="*/ 434383 w 434383"/>
                <a:gd name="connsiteY2" fmla="*/ 22571 h 22571"/>
                <a:gd name="connsiteX3" fmla="*/ 0 w 434383"/>
                <a:gd name="connsiteY3" fmla="*/ 22571 h 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383" h="22571">
                  <a:moveTo>
                    <a:pt x="0" y="0"/>
                  </a:moveTo>
                  <a:lnTo>
                    <a:pt x="434383" y="0"/>
                  </a:lnTo>
                  <a:lnTo>
                    <a:pt x="434383" y="22571"/>
                  </a:lnTo>
                  <a:lnTo>
                    <a:pt x="0" y="22571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9C3E3AE0-D504-4E6B-83B7-2FEE73A6ABDF}"/>
                </a:ext>
              </a:extLst>
            </p:cNvPr>
            <p:cNvSpPr/>
            <p:nvPr/>
          </p:nvSpPr>
          <p:spPr>
            <a:xfrm>
              <a:off x="2131641" y="4053090"/>
              <a:ext cx="434383" cy="22571"/>
            </a:xfrm>
            <a:custGeom>
              <a:avLst/>
              <a:gdLst>
                <a:gd name="connsiteX0" fmla="*/ 0 w 434383"/>
                <a:gd name="connsiteY0" fmla="*/ 0 h 22571"/>
                <a:gd name="connsiteX1" fmla="*/ 434383 w 434383"/>
                <a:gd name="connsiteY1" fmla="*/ 0 h 22571"/>
                <a:gd name="connsiteX2" fmla="*/ 434383 w 434383"/>
                <a:gd name="connsiteY2" fmla="*/ 22571 h 22571"/>
                <a:gd name="connsiteX3" fmla="*/ 0 w 434383"/>
                <a:gd name="connsiteY3" fmla="*/ 22571 h 2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383" h="22571">
                  <a:moveTo>
                    <a:pt x="0" y="0"/>
                  </a:moveTo>
                  <a:lnTo>
                    <a:pt x="434383" y="0"/>
                  </a:lnTo>
                  <a:lnTo>
                    <a:pt x="434383" y="22571"/>
                  </a:lnTo>
                  <a:lnTo>
                    <a:pt x="0" y="22571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C10FAA79-DCBA-4F78-BF94-2D5206050937}"/>
                </a:ext>
              </a:extLst>
            </p:cNvPr>
            <p:cNvSpPr/>
            <p:nvPr/>
          </p:nvSpPr>
          <p:spPr>
            <a:xfrm>
              <a:off x="2721950" y="3802287"/>
              <a:ext cx="434383" cy="278523"/>
            </a:xfrm>
            <a:custGeom>
              <a:avLst/>
              <a:gdLst>
                <a:gd name="connsiteX0" fmla="*/ 0 w 434383"/>
                <a:gd name="connsiteY0" fmla="*/ 0 h 278523"/>
                <a:gd name="connsiteX1" fmla="*/ 434383 w 434383"/>
                <a:gd name="connsiteY1" fmla="*/ 0 h 278523"/>
                <a:gd name="connsiteX2" fmla="*/ 434383 w 434383"/>
                <a:gd name="connsiteY2" fmla="*/ 278524 h 278523"/>
                <a:gd name="connsiteX3" fmla="*/ 0 w 434383"/>
                <a:gd name="connsiteY3" fmla="*/ 278524 h 27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383" h="278523">
                  <a:moveTo>
                    <a:pt x="0" y="0"/>
                  </a:moveTo>
                  <a:lnTo>
                    <a:pt x="434383" y="0"/>
                  </a:lnTo>
                  <a:lnTo>
                    <a:pt x="434383" y="278524"/>
                  </a:lnTo>
                  <a:lnTo>
                    <a:pt x="0" y="278524"/>
                  </a:lnTo>
                  <a:close/>
                </a:path>
              </a:pathLst>
            </a:custGeom>
            <a:noFill/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09BC2E36-2FDB-4CAF-BBDA-F5DA701C6576}"/>
                </a:ext>
              </a:extLst>
            </p:cNvPr>
            <p:cNvSpPr/>
            <p:nvPr/>
          </p:nvSpPr>
          <p:spPr>
            <a:xfrm>
              <a:off x="3410848" y="2946117"/>
              <a:ext cx="565755" cy="504017"/>
            </a:xfrm>
            <a:custGeom>
              <a:avLst/>
              <a:gdLst>
                <a:gd name="connsiteX0" fmla="*/ 283228 w 565755"/>
                <a:gd name="connsiteY0" fmla="*/ 0 h 504017"/>
                <a:gd name="connsiteX1" fmla="*/ -18 w 565755"/>
                <a:gd name="connsiteY1" fmla="*/ 251241 h 504017"/>
                <a:gd name="connsiteX2" fmla="*/ 281509 w 565755"/>
                <a:gd name="connsiteY2" fmla="*/ 504016 h 504017"/>
                <a:gd name="connsiteX3" fmla="*/ 281509 w 565755"/>
                <a:gd name="connsiteY3" fmla="*/ 416361 h 504017"/>
                <a:gd name="connsiteX4" fmla="*/ 280404 w 565755"/>
                <a:gd name="connsiteY4" fmla="*/ 416361 h 504017"/>
                <a:gd name="connsiteX5" fmla="*/ 93292 w 565755"/>
                <a:gd name="connsiteY5" fmla="*/ 249598 h 504017"/>
                <a:gd name="connsiteX6" fmla="*/ 280158 w 565755"/>
                <a:gd name="connsiteY6" fmla="*/ 82615 h 504017"/>
                <a:gd name="connsiteX7" fmla="*/ 467270 w 565755"/>
                <a:gd name="connsiteY7" fmla="*/ 249379 h 504017"/>
                <a:gd name="connsiteX8" fmla="*/ 467270 w 565755"/>
                <a:gd name="connsiteY8" fmla="*/ 249488 h 504017"/>
                <a:gd name="connsiteX9" fmla="*/ 465305 w 565755"/>
                <a:gd name="connsiteY9" fmla="*/ 273374 h 504017"/>
                <a:gd name="connsiteX10" fmla="*/ 564631 w 565755"/>
                <a:gd name="connsiteY10" fmla="*/ 273374 h 504017"/>
                <a:gd name="connsiteX11" fmla="*/ 565736 w 565755"/>
                <a:gd name="connsiteY11" fmla="*/ 252008 h 504017"/>
                <a:gd name="connsiteX12" fmla="*/ 283350 w 565755"/>
                <a:gd name="connsiteY12" fmla="*/ 0 h 504017"/>
                <a:gd name="connsiteX13" fmla="*/ 283228 w 565755"/>
                <a:gd name="connsiteY13" fmla="*/ 0 h 504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5755" h="504017">
                  <a:moveTo>
                    <a:pt x="283228" y="0"/>
                  </a:moveTo>
                  <a:cubicBezTo>
                    <a:pt x="127265" y="-427"/>
                    <a:pt x="461" y="112056"/>
                    <a:pt x="-18" y="251241"/>
                  </a:cubicBezTo>
                  <a:cubicBezTo>
                    <a:pt x="-497" y="390426"/>
                    <a:pt x="125546" y="503589"/>
                    <a:pt x="281509" y="504016"/>
                  </a:cubicBezTo>
                  <a:lnTo>
                    <a:pt x="281509" y="416361"/>
                  </a:lnTo>
                  <a:lnTo>
                    <a:pt x="280404" y="416361"/>
                  </a:lnTo>
                  <a:cubicBezTo>
                    <a:pt x="177136" y="416427"/>
                    <a:pt x="93366" y="341756"/>
                    <a:pt x="93292" y="249598"/>
                  </a:cubicBezTo>
                  <a:cubicBezTo>
                    <a:pt x="93219" y="157439"/>
                    <a:pt x="176891" y="82681"/>
                    <a:pt x="280158" y="82615"/>
                  </a:cubicBezTo>
                  <a:cubicBezTo>
                    <a:pt x="383425" y="82549"/>
                    <a:pt x="467196" y="157220"/>
                    <a:pt x="467270" y="249379"/>
                  </a:cubicBezTo>
                  <a:cubicBezTo>
                    <a:pt x="467270" y="249412"/>
                    <a:pt x="467270" y="249455"/>
                    <a:pt x="467270" y="249488"/>
                  </a:cubicBezTo>
                  <a:cubicBezTo>
                    <a:pt x="467306" y="257487"/>
                    <a:pt x="466643" y="265474"/>
                    <a:pt x="465305" y="273374"/>
                  </a:cubicBezTo>
                  <a:lnTo>
                    <a:pt x="564631" y="273374"/>
                  </a:lnTo>
                  <a:cubicBezTo>
                    <a:pt x="565368" y="266066"/>
                    <a:pt x="565736" y="258944"/>
                    <a:pt x="565736" y="252008"/>
                  </a:cubicBezTo>
                  <a:cubicBezTo>
                    <a:pt x="565736" y="112823"/>
                    <a:pt x="439313" y="0"/>
                    <a:pt x="283350" y="0"/>
                  </a:cubicBezTo>
                  <a:cubicBezTo>
                    <a:pt x="283314" y="0"/>
                    <a:pt x="283264" y="0"/>
                    <a:pt x="283228" y="0"/>
                  </a:cubicBez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111621-4EF9-41D6-A049-B07FE6CD7CF6}"/>
                </a:ext>
              </a:extLst>
            </p:cNvPr>
            <p:cNvSpPr/>
            <p:nvPr/>
          </p:nvSpPr>
          <p:spPr>
            <a:xfrm>
              <a:off x="4026450" y="2131256"/>
              <a:ext cx="899705" cy="787798"/>
            </a:xfrm>
            <a:custGeom>
              <a:avLst/>
              <a:gdLst>
                <a:gd name="connsiteX0" fmla="*/ 804186 w 899705"/>
                <a:gd name="connsiteY0" fmla="*/ 0 h 787798"/>
                <a:gd name="connsiteX1" fmla="*/ 899706 w 899705"/>
                <a:gd name="connsiteY1" fmla="*/ 0 h 787798"/>
                <a:gd name="connsiteX2" fmla="*/ 899706 w 899705"/>
                <a:gd name="connsiteY2" fmla="*/ 787799 h 787798"/>
                <a:gd name="connsiteX3" fmla="*/ 804186 w 899705"/>
                <a:gd name="connsiteY3" fmla="*/ 787799 h 787798"/>
                <a:gd name="connsiteX4" fmla="*/ 95520 w 899705"/>
                <a:gd name="connsiteY4" fmla="*/ 787799 h 787798"/>
                <a:gd name="connsiteX5" fmla="*/ 0 w 899705"/>
                <a:gd name="connsiteY5" fmla="*/ 787799 h 787798"/>
                <a:gd name="connsiteX6" fmla="*/ 0 w 899705"/>
                <a:gd name="connsiteY6" fmla="*/ 0 h 787798"/>
                <a:gd name="connsiteX7" fmla="*/ 95520 w 899705"/>
                <a:gd name="connsiteY7" fmla="*/ 0 h 787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9705" h="787798">
                  <a:moveTo>
                    <a:pt x="804186" y="0"/>
                  </a:moveTo>
                  <a:cubicBezTo>
                    <a:pt x="856940" y="0"/>
                    <a:pt x="899706" y="0"/>
                    <a:pt x="899706" y="0"/>
                  </a:cubicBezTo>
                  <a:lnTo>
                    <a:pt x="899706" y="787799"/>
                  </a:lnTo>
                  <a:cubicBezTo>
                    <a:pt x="899706" y="787799"/>
                    <a:pt x="856940" y="787799"/>
                    <a:pt x="804186" y="787799"/>
                  </a:cubicBezTo>
                  <a:lnTo>
                    <a:pt x="95520" y="787799"/>
                  </a:lnTo>
                  <a:cubicBezTo>
                    <a:pt x="42766" y="787799"/>
                    <a:pt x="0" y="787799"/>
                    <a:pt x="0" y="787799"/>
                  </a:cubicBezTo>
                  <a:lnTo>
                    <a:pt x="0" y="0"/>
                  </a:lnTo>
                  <a:cubicBezTo>
                    <a:pt x="0" y="0"/>
                    <a:pt x="42766" y="0"/>
                    <a:pt x="95520" y="0"/>
                  </a:cubicBezTo>
                  <a:close/>
                </a:path>
              </a:pathLst>
            </a:custGeom>
            <a:solidFill>
              <a:srgbClr val="FFFFFF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F4F1A42-B5C6-433D-A3F2-28E9C700B573}"/>
                </a:ext>
              </a:extLst>
            </p:cNvPr>
            <p:cNvSpPr/>
            <p:nvPr/>
          </p:nvSpPr>
          <p:spPr>
            <a:xfrm>
              <a:off x="4751814" y="3275372"/>
              <a:ext cx="899705" cy="787798"/>
            </a:xfrm>
            <a:custGeom>
              <a:avLst/>
              <a:gdLst>
                <a:gd name="connsiteX0" fmla="*/ 804186 w 899705"/>
                <a:gd name="connsiteY0" fmla="*/ 0 h 787798"/>
                <a:gd name="connsiteX1" fmla="*/ 899706 w 899705"/>
                <a:gd name="connsiteY1" fmla="*/ 0 h 787798"/>
                <a:gd name="connsiteX2" fmla="*/ 899706 w 899705"/>
                <a:gd name="connsiteY2" fmla="*/ 787799 h 787798"/>
                <a:gd name="connsiteX3" fmla="*/ 804186 w 899705"/>
                <a:gd name="connsiteY3" fmla="*/ 787799 h 787798"/>
                <a:gd name="connsiteX4" fmla="*/ 95520 w 899705"/>
                <a:gd name="connsiteY4" fmla="*/ 787799 h 787798"/>
                <a:gd name="connsiteX5" fmla="*/ 0 w 899705"/>
                <a:gd name="connsiteY5" fmla="*/ 787799 h 787798"/>
                <a:gd name="connsiteX6" fmla="*/ 0 w 899705"/>
                <a:gd name="connsiteY6" fmla="*/ 0 h 787798"/>
                <a:gd name="connsiteX7" fmla="*/ 95520 w 899705"/>
                <a:gd name="connsiteY7" fmla="*/ 0 h 787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9705" h="787798">
                  <a:moveTo>
                    <a:pt x="804186" y="0"/>
                  </a:moveTo>
                  <a:cubicBezTo>
                    <a:pt x="856940" y="0"/>
                    <a:pt x="899706" y="0"/>
                    <a:pt x="899706" y="0"/>
                  </a:cubicBezTo>
                  <a:lnTo>
                    <a:pt x="899706" y="787799"/>
                  </a:lnTo>
                  <a:cubicBezTo>
                    <a:pt x="899706" y="787799"/>
                    <a:pt x="856940" y="787799"/>
                    <a:pt x="804186" y="787799"/>
                  </a:cubicBezTo>
                  <a:lnTo>
                    <a:pt x="95520" y="787799"/>
                  </a:lnTo>
                  <a:cubicBezTo>
                    <a:pt x="42766" y="787799"/>
                    <a:pt x="0" y="787799"/>
                    <a:pt x="0" y="787799"/>
                  </a:cubicBezTo>
                  <a:lnTo>
                    <a:pt x="0" y="0"/>
                  </a:lnTo>
                  <a:cubicBezTo>
                    <a:pt x="0" y="0"/>
                    <a:pt x="42766" y="0"/>
                    <a:pt x="95520" y="0"/>
                  </a:cubicBezTo>
                  <a:close/>
                </a:path>
              </a:pathLst>
            </a:custGeom>
            <a:solidFill>
              <a:srgbClr val="FFFFFF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9951A8A-F2BD-49B3-86A2-F53DEF5BB134}"/>
                </a:ext>
              </a:extLst>
            </p:cNvPr>
            <p:cNvSpPr/>
            <p:nvPr/>
          </p:nvSpPr>
          <p:spPr>
            <a:xfrm>
              <a:off x="1083007" y="1574318"/>
              <a:ext cx="899705" cy="787798"/>
            </a:xfrm>
            <a:custGeom>
              <a:avLst/>
              <a:gdLst>
                <a:gd name="connsiteX0" fmla="*/ 804186 w 899705"/>
                <a:gd name="connsiteY0" fmla="*/ 0 h 787798"/>
                <a:gd name="connsiteX1" fmla="*/ 899706 w 899705"/>
                <a:gd name="connsiteY1" fmla="*/ 0 h 787798"/>
                <a:gd name="connsiteX2" fmla="*/ 899706 w 899705"/>
                <a:gd name="connsiteY2" fmla="*/ 787799 h 787798"/>
                <a:gd name="connsiteX3" fmla="*/ 804186 w 899705"/>
                <a:gd name="connsiteY3" fmla="*/ 787799 h 787798"/>
                <a:gd name="connsiteX4" fmla="*/ 95520 w 899705"/>
                <a:gd name="connsiteY4" fmla="*/ 787799 h 787798"/>
                <a:gd name="connsiteX5" fmla="*/ 0 w 899705"/>
                <a:gd name="connsiteY5" fmla="*/ 787799 h 787798"/>
                <a:gd name="connsiteX6" fmla="*/ 0 w 899705"/>
                <a:gd name="connsiteY6" fmla="*/ 0 h 787798"/>
                <a:gd name="connsiteX7" fmla="*/ 95520 w 899705"/>
                <a:gd name="connsiteY7" fmla="*/ 0 h 787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9705" h="787798">
                  <a:moveTo>
                    <a:pt x="804186" y="0"/>
                  </a:moveTo>
                  <a:cubicBezTo>
                    <a:pt x="856940" y="0"/>
                    <a:pt x="899706" y="0"/>
                    <a:pt x="899706" y="0"/>
                  </a:cubicBezTo>
                  <a:lnTo>
                    <a:pt x="899706" y="787799"/>
                  </a:lnTo>
                  <a:cubicBezTo>
                    <a:pt x="899706" y="787799"/>
                    <a:pt x="856940" y="787799"/>
                    <a:pt x="804186" y="787799"/>
                  </a:cubicBezTo>
                  <a:lnTo>
                    <a:pt x="95520" y="787799"/>
                  </a:lnTo>
                  <a:cubicBezTo>
                    <a:pt x="42766" y="787799"/>
                    <a:pt x="0" y="787799"/>
                    <a:pt x="0" y="787799"/>
                  </a:cubicBezTo>
                  <a:lnTo>
                    <a:pt x="0" y="0"/>
                  </a:lnTo>
                  <a:cubicBezTo>
                    <a:pt x="0" y="0"/>
                    <a:pt x="42766" y="0"/>
                    <a:pt x="95520" y="0"/>
                  </a:cubicBezTo>
                  <a:close/>
                </a:path>
              </a:pathLst>
            </a:custGeom>
            <a:solidFill>
              <a:srgbClr val="FFFFFF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13BBD9B-B061-456D-B3AA-1E34B4FDFBE9}"/>
                </a:ext>
              </a:extLst>
            </p:cNvPr>
            <p:cNvSpPr/>
            <p:nvPr/>
          </p:nvSpPr>
          <p:spPr>
            <a:xfrm>
              <a:off x="821248" y="2755359"/>
              <a:ext cx="899705" cy="787798"/>
            </a:xfrm>
            <a:custGeom>
              <a:avLst/>
              <a:gdLst>
                <a:gd name="connsiteX0" fmla="*/ 804186 w 899705"/>
                <a:gd name="connsiteY0" fmla="*/ 0 h 787798"/>
                <a:gd name="connsiteX1" fmla="*/ 899706 w 899705"/>
                <a:gd name="connsiteY1" fmla="*/ 0 h 787798"/>
                <a:gd name="connsiteX2" fmla="*/ 899706 w 899705"/>
                <a:gd name="connsiteY2" fmla="*/ 787799 h 787798"/>
                <a:gd name="connsiteX3" fmla="*/ 804186 w 899705"/>
                <a:gd name="connsiteY3" fmla="*/ 787799 h 787798"/>
                <a:gd name="connsiteX4" fmla="*/ 95520 w 899705"/>
                <a:gd name="connsiteY4" fmla="*/ 787799 h 787798"/>
                <a:gd name="connsiteX5" fmla="*/ 0 w 899705"/>
                <a:gd name="connsiteY5" fmla="*/ 787799 h 787798"/>
                <a:gd name="connsiteX6" fmla="*/ 0 w 899705"/>
                <a:gd name="connsiteY6" fmla="*/ 0 h 787798"/>
                <a:gd name="connsiteX7" fmla="*/ 95520 w 899705"/>
                <a:gd name="connsiteY7" fmla="*/ 0 h 787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9705" h="787798">
                  <a:moveTo>
                    <a:pt x="804186" y="0"/>
                  </a:moveTo>
                  <a:cubicBezTo>
                    <a:pt x="856940" y="0"/>
                    <a:pt x="899706" y="0"/>
                    <a:pt x="899706" y="0"/>
                  </a:cubicBezTo>
                  <a:lnTo>
                    <a:pt x="899706" y="787799"/>
                  </a:lnTo>
                  <a:cubicBezTo>
                    <a:pt x="899706" y="787799"/>
                    <a:pt x="856940" y="787799"/>
                    <a:pt x="804186" y="787799"/>
                  </a:cubicBezTo>
                  <a:lnTo>
                    <a:pt x="95520" y="787799"/>
                  </a:lnTo>
                  <a:cubicBezTo>
                    <a:pt x="42766" y="787799"/>
                    <a:pt x="0" y="787799"/>
                    <a:pt x="0" y="787799"/>
                  </a:cubicBezTo>
                  <a:lnTo>
                    <a:pt x="0" y="0"/>
                  </a:lnTo>
                  <a:cubicBezTo>
                    <a:pt x="0" y="0"/>
                    <a:pt x="42766" y="0"/>
                    <a:pt x="95520" y="0"/>
                  </a:cubicBezTo>
                  <a:close/>
                </a:path>
              </a:pathLst>
            </a:custGeom>
            <a:solidFill>
              <a:srgbClr val="FFFFFF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664E1DA-BDA5-4067-AB97-65AB81383A70}"/>
                </a:ext>
              </a:extLst>
            </p:cNvPr>
            <p:cNvSpPr/>
            <p:nvPr/>
          </p:nvSpPr>
          <p:spPr>
            <a:xfrm>
              <a:off x="1466325" y="3450016"/>
              <a:ext cx="426414" cy="690999"/>
            </a:xfrm>
            <a:custGeom>
              <a:avLst/>
              <a:gdLst>
                <a:gd name="connsiteX0" fmla="*/ 329749 w 426414"/>
                <a:gd name="connsiteY0" fmla="*/ 120861 h 690999"/>
                <a:gd name="connsiteX1" fmla="*/ 386963 w 426414"/>
                <a:gd name="connsiteY1" fmla="*/ 111986 h 690999"/>
                <a:gd name="connsiteX2" fmla="*/ 426252 w 426414"/>
                <a:gd name="connsiteY2" fmla="*/ 159430 h 690999"/>
                <a:gd name="connsiteX3" fmla="*/ 411396 w 426414"/>
                <a:gd name="connsiteY3" fmla="*/ 219254 h 690999"/>
                <a:gd name="connsiteX4" fmla="*/ 271062 w 426414"/>
                <a:gd name="connsiteY4" fmla="*/ 411766 h 690999"/>
                <a:gd name="connsiteX5" fmla="*/ 227599 w 426414"/>
                <a:gd name="connsiteY5" fmla="*/ 547850 h 690999"/>
                <a:gd name="connsiteX6" fmla="*/ 177384 w 426414"/>
                <a:gd name="connsiteY6" fmla="*/ 682730 h 690999"/>
                <a:gd name="connsiteX7" fmla="*/ 69709 w 426414"/>
                <a:gd name="connsiteY7" fmla="*/ 663336 h 690999"/>
                <a:gd name="connsiteX8" fmla="*/ 19370 w 426414"/>
                <a:gd name="connsiteY8" fmla="*/ 569545 h 690999"/>
                <a:gd name="connsiteX9" fmla="*/ 153565 w 426414"/>
                <a:gd name="connsiteY9" fmla="*/ 18853 h 690999"/>
                <a:gd name="connsiteX10" fmla="*/ 195923 w 426414"/>
                <a:gd name="connsiteY10" fmla="*/ 2746 h 690999"/>
                <a:gd name="connsiteX11" fmla="*/ 207218 w 426414"/>
                <a:gd name="connsiteY11" fmla="*/ 26632 h 690999"/>
                <a:gd name="connsiteX12" fmla="*/ 221092 w 426414"/>
                <a:gd name="connsiteY12" fmla="*/ 165346 h 690999"/>
                <a:gd name="connsiteX13" fmla="*/ 329749 w 426414"/>
                <a:gd name="connsiteY13" fmla="*/ 120861 h 6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6414" h="690999">
                  <a:moveTo>
                    <a:pt x="329749" y="120861"/>
                  </a:moveTo>
                  <a:cubicBezTo>
                    <a:pt x="347024" y="111910"/>
                    <a:pt x="367319" y="108754"/>
                    <a:pt x="386963" y="111986"/>
                  </a:cubicBezTo>
                  <a:cubicBezTo>
                    <a:pt x="409468" y="119415"/>
                    <a:pt x="424901" y="138042"/>
                    <a:pt x="426252" y="159430"/>
                  </a:cubicBezTo>
                  <a:cubicBezTo>
                    <a:pt x="427344" y="180193"/>
                    <a:pt x="422212" y="200846"/>
                    <a:pt x="411396" y="219254"/>
                  </a:cubicBezTo>
                  <a:cubicBezTo>
                    <a:pt x="375545" y="288940"/>
                    <a:pt x="310964" y="343943"/>
                    <a:pt x="271062" y="411766"/>
                  </a:cubicBezTo>
                  <a:cubicBezTo>
                    <a:pt x="246249" y="453983"/>
                    <a:pt x="231454" y="500308"/>
                    <a:pt x="227599" y="547850"/>
                  </a:cubicBezTo>
                  <a:cubicBezTo>
                    <a:pt x="223670" y="597375"/>
                    <a:pt x="225512" y="657419"/>
                    <a:pt x="177384" y="682730"/>
                  </a:cubicBezTo>
                  <a:cubicBezTo>
                    <a:pt x="143252" y="700151"/>
                    <a:pt x="97456" y="688317"/>
                    <a:pt x="69709" y="663336"/>
                  </a:cubicBezTo>
                  <a:cubicBezTo>
                    <a:pt x="41961" y="638354"/>
                    <a:pt x="28579" y="603621"/>
                    <a:pt x="19370" y="569545"/>
                  </a:cubicBezTo>
                  <a:cubicBezTo>
                    <a:pt x="-31124" y="377318"/>
                    <a:pt x="18179" y="175010"/>
                    <a:pt x="153565" y="18853"/>
                  </a:cubicBezTo>
                  <a:cubicBezTo>
                    <a:pt x="164001" y="6910"/>
                    <a:pt x="181804" y="-5691"/>
                    <a:pt x="195923" y="2746"/>
                  </a:cubicBezTo>
                  <a:cubicBezTo>
                    <a:pt x="203425" y="8849"/>
                    <a:pt x="207562" y="17582"/>
                    <a:pt x="207218" y="26632"/>
                  </a:cubicBezTo>
                  <a:cubicBezTo>
                    <a:pt x="210165" y="52710"/>
                    <a:pt x="195923" y="148253"/>
                    <a:pt x="221092" y="165346"/>
                  </a:cubicBezTo>
                  <a:cubicBezTo>
                    <a:pt x="248717" y="183425"/>
                    <a:pt x="299669" y="133571"/>
                    <a:pt x="329749" y="120861"/>
                  </a:cubicBezTo>
                  <a:close/>
                </a:path>
              </a:pathLst>
            </a:custGeom>
            <a:solidFill>
              <a:srgbClr val="E5C5D5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6DABCB98-F201-4AF1-A1B1-99711E5E5094}"/>
                </a:ext>
              </a:extLst>
            </p:cNvPr>
            <p:cNvSpPr/>
            <p:nvPr/>
          </p:nvSpPr>
          <p:spPr>
            <a:xfrm>
              <a:off x="1097372" y="4024188"/>
              <a:ext cx="591246" cy="1162171"/>
            </a:xfrm>
            <a:custGeom>
              <a:avLst/>
              <a:gdLst>
                <a:gd name="connsiteX0" fmla="*/ 539215 w 591246"/>
                <a:gd name="connsiteY0" fmla="*/ 1083719 h 1162171"/>
                <a:gd name="connsiteX1" fmla="*/ 559964 w 591246"/>
                <a:gd name="connsiteY1" fmla="*/ 935801 h 1162171"/>
                <a:gd name="connsiteX2" fmla="*/ 528902 w 591246"/>
                <a:gd name="connsiteY2" fmla="*/ 1159431 h 1162171"/>
                <a:gd name="connsiteX3" fmla="*/ 528902 w 591246"/>
                <a:gd name="connsiteY3" fmla="*/ 1162170 h 1162171"/>
                <a:gd name="connsiteX4" fmla="*/ 494525 w 591246"/>
                <a:gd name="connsiteY4" fmla="*/ 1151213 h 1162171"/>
                <a:gd name="connsiteX5" fmla="*/ 6611 w 591246"/>
                <a:gd name="connsiteY5" fmla="*/ 865239 h 1162171"/>
                <a:gd name="connsiteX6" fmla="*/ -19 w 591246"/>
                <a:gd name="connsiteY6" fmla="*/ 859761 h 1162171"/>
                <a:gd name="connsiteX7" fmla="*/ 100166 w 591246"/>
                <a:gd name="connsiteY7" fmla="*/ 527110 h 1162171"/>
                <a:gd name="connsiteX8" fmla="*/ 329513 w 591246"/>
                <a:gd name="connsiteY8" fmla="*/ 14658 h 1162171"/>
                <a:gd name="connsiteX9" fmla="*/ 421841 w 591246"/>
                <a:gd name="connsiteY9" fmla="*/ 9179 h 1162171"/>
                <a:gd name="connsiteX10" fmla="*/ 518098 w 591246"/>
                <a:gd name="connsiteY10" fmla="*/ 42050 h 1162171"/>
                <a:gd name="connsiteX11" fmla="*/ 570646 w 591246"/>
                <a:gd name="connsiteY11" fmla="*/ 73386 h 1162171"/>
                <a:gd name="connsiteX12" fmla="*/ 586116 w 591246"/>
                <a:gd name="connsiteY12" fmla="*/ 131458 h 1162171"/>
                <a:gd name="connsiteX13" fmla="*/ 539215 w 591246"/>
                <a:gd name="connsiteY13" fmla="*/ 1083719 h 116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1246" h="1162171">
                  <a:moveTo>
                    <a:pt x="539215" y="1083719"/>
                  </a:moveTo>
                  <a:lnTo>
                    <a:pt x="559964" y="935801"/>
                  </a:lnTo>
                  <a:cubicBezTo>
                    <a:pt x="549528" y="1010308"/>
                    <a:pt x="539338" y="1084814"/>
                    <a:pt x="528902" y="1159431"/>
                  </a:cubicBezTo>
                  <a:lnTo>
                    <a:pt x="528902" y="1162170"/>
                  </a:lnTo>
                  <a:cubicBezTo>
                    <a:pt x="517361" y="1158664"/>
                    <a:pt x="505943" y="1154829"/>
                    <a:pt x="494525" y="1151213"/>
                  </a:cubicBezTo>
                  <a:cubicBezTo>
                    <a:pt x="312079" y="1087992"/>
                    <a:pt x="150014" y="984121"/>
                    <a:pt x="6611" y="865239"/>
                  </a:cubicBezTo>
                  <a:lnTo>
                    <a:pt x="-19" y="859761"/>
                  </a:lnTo>
                  <a:cubicBezTo>
                    <a:pt x="30429" y="748220"/>
                    <a:pt x="65298" y="637446"/>
                    <a:pt x="100166" y="527110"/>
                  </a:cubicBezTo>
                  <a:cubicBezTo>
                    <a:pt x="155170" y="352786"/>
                    <a:pt x="198388" y="152714"/>
                    <a:pt x="329513" y="14658"/>
                  </a:cubicBezTo>
                  <a:cubicBezTo>
                    <a:pt x="350753" y="-7256"/>
                    <a:pt x="390901" y="-682"/>
                    <a:pt x="421841" y="9179"/>
                  </a:cubicBezTo>
                  <a:cubicBezTo>
                    <a:pt x="452781" y="19040"/>
                    <a:pt x="486421" y="31093"/>
                    <a:pt x="518098" y="42050"/>
                  </a:cubicBezTo>
                  <a:cubicBezTo>
                    <a:pt x="538540" y="47934"/>
                    <a:pt x="556735" y="58781"/>
                    <a:pt x="570646" y="73386"/>
                  </a:cubicBezTo>
                  <a:cubicBezTo>
                    <a:pt x="583783" y="89821"/>
                    <a:pt x="585256" y="111187"/>
                    <a:pt x="586116" y="131458"/>
                  </a:cubicBezTo>
                  <a:cubicBezTo>
                    <a:pt x="600407" y="449492"/>
                    <a:pt x="584716" y="768030"/>
                    <a:pt x="539215" y="1083719"/>
                  </a:cubicBez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286733A-9A8A-4B75-85EA-94ED9F475F7A}"/>
                </a:ext>
              </a:extLst>
            </p:cNvPr>
            <p:cNvSpPr/>
            <p:nvPr/>
          </p:nvSpPr>
          <p:spPr>
            <a:xfrm>
              <a:off x="3620733" y="3956838"/>
              <a:ext cx="1148269" cy="1242778"/>
            </a:xfrm>
            <a:custGeom>
              <a:avLst/>
              <a:gdLst>
                <a:gd name="connsiteX0" fmla="*/ 1148250 w 1148269"/>
                <a:gd name="connsiteY0" fmla="*/ 1082478 h 1242778"/>
                <a:gd name="connsiteX1" fmla="*/ 1114242 w 1148269"/>
                <a:gd name="connsiteY1" fmla="*/ 1098037 h 1242778"/>
                <a:gd name="connsiteX2" fmla="*/ 552907 w 1148269"/>
                <a:gd name="connsiteY2" fmla="*/ 1242777 h 1242778"/>
                <a:gd name="connsiteX3" fmla="*/ 191453 w 1148269"/>
                <a:gd name="connsiteY3" fmla="*/ 652312 h 1242778"/>
                <a:gd name="connsiteX4" fmla="*/ 61802 w 1148269"/>
                <a:gd name="connsiteY4" fmla="*/ 471304 h 1242778"/>
                <a:gd name="connsiteX5" fmla="*/ 413 w 1148269"/>
                <a:gd name="connsiteY5" fmla="*/ 295228 h 1242778"/>
                <a:gd name="connsiteX6" fmla="*/ 91513 w 1148269"/>
                <a:gd name="connsiteY6" fmla="*/ 170648 h 1242778"/>
                <a:gd name="connsiteX7" fmla="*/ 461930 w 1148269"/>
                <a:gd name="connsiteY7" fmla="*/ 3227 h 1242778"/>
                <a:gd name="connsiteX8" fmla="*/ 498149 w 1148269"/>
                <a:gd name="connsiteY8" fmla="*/ 2460 h 1242778"/>
                <a:gd name="connsiteX9" fmla="*/ 520863 w 1148269"/>
                <a:gd name="connsiteY9" fmla="*/ 25798 h 1242778"/>
                <a:gd name="connsiteX10" fmla="*/ 899260 w 1148269"/>
                <a:gd name="connsiteY10" fmla="*/ 642670 h 1242778"/>
                <a:gd name="connsiteX11" fmla="*/ 1136341 w 1148269"/>
                <a:gd name="connsiteY11" fmla="*/ 1057606 h 1242778"/>
                <a:gd name="connsiteX12" fmla="*/ 1148250 w 1148269"/>
                <a:gd name="connsiteY12" fmla="*/ 1082478 h 124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48269" h="1242778">
                  <a:moveTo>
                    <a:pt x="1148250" y="1082478"/>
                  </a:moveTo>
                  <a:cubicBezTo>
                    <a:pt x="1136955" y="1087957"/>
                    <a:pt x="1125537" y="1093435"/>
                    <a:pt x="1114242" y="1098037"/>
                  </a:cubicBezTo>
                  <a:cubicBezTo>
                    <a:pt x="938057" y="1174735"/>
                    <a:pt x="747385" y="1216590"/>
                    <a:pt x="552907" y="1242777"/>
                  </a:cubicBezTo>
                  <a:cubicBezTo>
                    <a:pt x="447933" y="1041609"/>
                    <a:pt x="337680" y="829923"/>
                    <a:pt x="191453" y="652312"/>
                  </a:cubicBezTo>
                  <a:cubicBezTo>
                    <a:pt x="142343" y="592706"/>
                    <a:pt x="92250" y="541319"/>
                    <a:pt x="61802" y="471304"/>
                  </a:cubicBezTo>
                  <a:cubicBezTo>
                    <a:pt x="38965" y="418931"/>
                    <a:pt x="6184" y="350779"/>
                    <a:pt x="413" y="295228"/>
                  </a:cubicBezTo>
                  <a:cubicBezTo>
                    <a:pt x="-5112" y="235732"/>
                    <a:pt x="43262" y="205381"/>
                    <a:pt x="91513" y="170648"/>
                  </a:cubicBezTo>
                  <a:cubicBezTo>
                    <a:pt x="200392" y="92175"/>
                    <a:pt x="326618" y="35122"/>
                    <a:pt x="461930" y="3227"/>
                  </a:cubicBezTo>
                  <a:cubicBezTo>
                    <a:pt x="473532" y="-794"/>
                    <a:pt x="486350" y="-1068"/>
                    <a:pt x="498149" y="2460"/>
                  </a:cubicBezTo>
                  <a:cubicBezTo>
                    <a:pt x="508303" y="7895"/>
                    <a:pt x="516258" y="16069"/>
                    <a:pt x="520863" y="25798"/>
                  </a:cubicBezTo>
                  <a:lnTo>
                    <a:pt x="899260" y="642670"/>
                  </a:lnTo>
                  <a:cubicBezTo>
                    <a:pt x="982871" y="778864"/>
                    <a:pt x="1066604" y="915276"/>
                    <a:pt x="1136341" y="1057606"/>
                  </a:cubicBezTo>
                  <a:cubicBezTo>
                    <a:pt x="1140270" y="1066043"/>
                    <a:pt x="1144813" y="1074151"/>
                    <a:pt x="1148250" y="1082478"/>
                  </a:cubicBez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ADD18E5-3F6B-4192-9D40-8C4E1CBBC987}"/>
                </a:ext>
              </a:extLst>
            </p:cNvPr>
            <p:cNvSpPr/>
            <p:nvPr/>
          </p:nvSpPr>
          <p:spPr>
            <a:xfrm>
              <a:off x="3275042" y="3558817"/>
              <a:ext cx="792783" cy="636064"/>
            </a:xfrm>
            <a:custGeom>
              <a:avLst/>
              <a:gdLst>
                <a:gd name="connsiteX0" fmla="*/ 185267 w 792783"/>
                <a:gd name="connsiteY0" fmla="*/ 526266 h 636064"/>
                <a:gd name="connsiteX1" fmla="*/ 172375 w 792783"/>
                <a:gd name="connsiteY1" fmla="*/ 370240 h 636064"/>
                <a:gd name="connsiteX2" fmla="*/ 42232 w 792783"/>
                <a:gd name="connsiteY2" fmla="*/ 137516 h 636064"/>
                <a:gd name="connsiteX3" fmla="*/ 365 w 792783"/>
                <a:gd name="connsiteY3" fmla="*/ 31015 h 636064"/>
                <a:gd name="connsiteX4" fmla="*/ 24921 w 792783"/>
                <a:gd name="connsiteY4" fmla="*/ 8 h 636064"/>
                <a:gd name="connsiteX5" fmla="*/ 44688 w 792783"/>
                <a:gd name="connsiteY5" fmla="*/ 4829 h 636064"/>
                <a:gd name="connsiteX6" fmla="*/ 109268 w 792783"/>
                <a:gd name="connsiteY6" fmla="*/ 48656 h 636064"/>
                <a:gd name="connsiteX7" fmla="*/ 185390 w 792783"/>
                <a:gd name="connsiteY7" fmla="*/ 93250 h 636064"/>
                <a:gd name="connsiteX8" fmla="*/ 221117 w 792783"/>
                <a:gd name="connsiteY8" fmla="*/ 79664 h 636064"/>
                <a:gd name="connsiteX9" fmla="*/ 357031 w 792783"/>
                <a:gd name="connsiteY9" fmla="*/ 46793 h 636064"/>
                <a:gd name="connsiteX10" fmla="*/ 416455 w 792783"/>
                <a:gd name="connsiteY10" fmla="*/ 38576 h 636064"/>
                <a:gd name="connsiteX11" fmla="*/ 561945 w 792783"/>
                <a:gd name="connsiteY11" fmla="*/ 34412 h 636064"/>
                <a:gd name="connsiteX12" fmla="*/ 692456 w 792783"/>
                <a:gd name="connsiteY12" fmla="*/ 118780 h 636064"/>
                <a:gd name="connsiteX13" fmla="*/ 753845 w 792783"/>
                <a:gd name="connsiteY13" fmla="*/ 331014 h 636064"/>
                <a:gd name="connsiteX14" fmla="*/ 786380 w 792783"/>
                <a:gd name="connsiteY14" fmla="*/ 412314 h 636064"/>
                <a:gd name="connsiteX15" fmla="*/ 780978 w 792783"/>
                <a:gd name="connsiteY15" fmla="*/ 496463 h 636064"/>
                <a:gd name="connsiteX16" fmla="*/ 682757 w 792783"/>
                <a:gd name="connsiteY16" fmla="*/ 551795 h 636064"/>
                <a:gd name="connsiteX17" fmla="*/ 565751 w 792783"/>
                <a:gd name="connsiteY17" fmla="*/ 575024 h 636064"/>
                <a:gd name="connsiteX18" fmla="*/ 478089 w 792783"/>
                <a:gd name="connsiteY18" fmla="*/ 620495 h 636064"/>
                <a:gd name="connsiteX19" fmla="*/ 320444 w 792783"/>
                <a:gd name="connsiteY19" fmla="*/ 601539 h 636064"/>
                <a:gd name="connsiteX20" fmla="*/ 185267 w 792783"/>
                <a:gd name="connsiteY20" fmla="*/ 526266 h 6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92783" h="636064">
                  <a:moveTo>
                    <a:pt x="185267" y="526266"/>
                  </a:moveTo>
                  <a:cubicBezTo>
                    <a:pt x="156046" y="480356"/>
                    <a:pt x="175813" y="423052"/>
                    <a:pt x="172375" y="370240"/>
                  </a:cubicBezTo>
                  <a:cubicBezTo>
                    <a:pt x="166482" y="282585"/>
                    <a:pt x="96377" y="210927"/>
                    <a:pt x="42232" y="137516"/>
                  </a:cubicBezTo>
                  <a:cubicBezTo>
                    <a:pt x="18536" y="105522"/>
                    <a:pt x="-3195" y="69255"/>
                    <a:pt x="365" y="31015"/>
                  </a:cubicBezTo>
                  <a:cubicBezTo>
                    <a:pt x="1593" y="17319"/>
                    <a:pt x="9451" y="1322"/>
                    <a:pt x="24921" y="8"/>
                  </a:cubicBezTo>
                  <a:cubicBezTo>
                    <a:pt x="31894" y="-135"/>
                    <a:pt x="38770" y="1541"/>
                    <a:pt x="44688" y="4829"/>
                  </a:cubicBezTo>
                  <a:cubicBezTo>
                    <a:pt x="68924" y="15961"/>
                    <a:pt x="90778" y="30796"/>
                    <a:pt x="109268" y="48656"/>
                  </a:cubicBezTo>
                  <a:cubicBezTo>
                    <a:pt x="130754" y="69365"/>
                    <a:pt x="153959" y="96537"/>
                    <a:pt x="185390" y="93250"/>
                  </a:cubicBezTo>
                  <a:cubicBezTo>
                    <a:pt x="198146" y="90763"/>
                    <a:pt x="210264" y="86150"/>
                    <a:pt x="221117" y="79664"/>
                  </a:cubicBezTo>
                  <a:cubicBezTo>
                    <a:pt x="262739" y="59722"/>
                    <a:pt x="310376" y="53039"/>
                    <a:pt x="357031" y="46793"/>
                  </a:cubicBezTo>
                  <a:lnTo>
                    <a:pt x="416455" y="38576"/>
                  </a:lnTo>
                  <a:cubicBezTo>
                    <a:pt x="464706" y="31892"/>
                    <a:pt x="514676" y="25318"/>
                    <a:pt x="561945" y="34412"/>
                  </a:cubicBezTo>
                  <a:cubicBezTo>
                    <a:pt x="616605" y="45303"/>
                    <a:pt x="663825" y="75829"/>
                    <a:pt x="692456" y="118780"/>
                  </a:cubicBezTo>
                  <a:cubicBezTo>
                    <a:pt x="734200" y="182111"/>
                    <a:pt x="729289" y="261219"/>
                    <a:pt x="753845" y="331014"/>
                  </a:cubicBezTo>
                  <a:cubicBezTo>
                    <a:pt x="763667" y="358407"/>
                    <a:pt x="778400" y="384484"/>
                    <a:pt x="786380" y="412314"/>
                  </a:cubicBezTo>
                  <a:cubicBezTo>
                    <a:pt x="796472" y="439980"/>
                    <a:pt x="794545" y="470013"/>
                    <a:pt x="780978" y="496463"/>
                  </a:cubicBezTo>
                  <a:cubicBezTo>
                    <a:pt x="762071" y="527909"/>
                    <a:pt x="721554" y="544016"/>
                    <a:pt x="682757" y="551795"/>
                  </a:cubicBezTo>
                  <a:cubicBezTo>
                    <a:pt x="643960" y="559575"/>
                    <a:pt x="602707" y="561328"/>
                    <a:pt x="565751" y="575024"/>
                  </a:cubicBezTo>
                  <a:cubicBezTo>
                    <a:pt x="534443" y="586529"/>
                    <a:pt x="507555" y="605813"/>
                    <a:pt x="478089" y="620495"/>
                  </a:cubicBezTo>
                  <a:cubicBezTo>
                    <a:pt x="409211" y="654790"/>
                    <a:pt x="383060" y="625097"/>
                    <a:pt x="320444" y="601539"/>
                  </a:cubicBezTo>
                  <a:cubicBezTo>
                    <a:pt x="271947" y="583351"/>
                    <a:pt x="213628" y="569984"/>
                    <a:pt x="185267" y="526266"/>
                  </a:cubicBezTo>
                  <a:close/>
                </a:path>
              </a:pathLst>
            </a:custGeom>
            <a:solidFill>
              <a:srgbClr val="E5C5D5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103B199-BF3D-4636-A19F-A02FB54A7520}"/>
                </a:ext>
              </a:extLst>
            </p:cNvPr>
            <p:cNvSpPr/>
            <p:nvPr/>
          </p:nvSpPr>
          <p:spPr>
            <a:xfrm>
              <a:off x="3564688" y="2437938"/>
              <a:ext cx="469497" cy="576769"/>
            </a:xfrm>
            <a:custGeom>
              <a:avLst/>
              <a:gdLst>
                <a:gd name="connsiteX0" fmla="*/ 10068 w 469497"/>
                <a:gd name="connsiteY0" fmla="*/ 576769 h 576769"/>
                <a:gd name="connsiteX1" fmla="*/ 0 w 469497"/>
                <a:gd name="connsiteY1" fmla="*/ 574468 h 576769"/>
                <a:gd name="connsiteX2" fmla="*/ 167467 w 469497"/>
                <a:gd name="connsiteY2" fmla="*/ 0 h 576769"/>
                <a:gd name="connsiteX3" fmla="*/ 469497 w 469497"/>
                <a:gd name="connsiteY3" fmla="*/ 0 h 576769"/>
                <a:gd name="connsiteX4" fmla="*/ 469497 w 469497"/>
                <a:gd name="connsiteY4" fmla="*/ 9313 h 576769"/>
                <a:gd name="connsiteX5" fmla="*/ 175570 w 469497"/>
                <a:gd name="connsiteY5" fmla="*/ 9313 h 576769"/>
                <a:gd name="connsiteX6" fmla="*/ 10068 w 469497"/>
                <a:gd name="connsiteY6" fmla="*/ 576769 h 576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9497" h="576769">
                  <a:moveTo>
                    <a:pt x="10068" y="576769"/>
                  </a:moveTo>
                  <a:lnTo>
                    <a:pt x="0" y="574468"/>
                  </a:lnTo>
                  <a:lnTo>
                    <a:pt x="167467" y="0"/>
                  </a:lnTo>
                  <a:lnTo>
                    <a:pt x="469497" y="0"/>
                  </a:lnTo>
                  <a:lnTo>
                    <a:pt x="469497" y="9313"/>
                  </a:lnTo>
                  <a:lnTo>
                    <a:pt x="175570" y="9313"/>
                  </a:lnTo>
                  <a:lnTo>
                    <a:pt x="10068" y="576769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23138CD-3FF9-47D5-8F97-9AC400EFABDC}"/>
                </a:ext>
              </a:extLst>
            </p:cNvPr>
            <p:cNvSpPr/>
            <p:nvPr/>
          </p:nvSpPr>
          <p:spPr>
            <a:xfrm>
              <a:off x="3851494" y="3316241"/>
              <a:ext cx="892585" cy="450217"/>
            </a:xfrm>
            <a:custGeom>
              <a:avLst/>
              <a:gdLst>
                <a:gd name="connsiteX0" fmla="*/ 892585 w 892585"/>
                <a:gd name="connsiteY0" fmla="*/ 450218 h 450217"/>
                <a:gd name="connsiteX1" fmla="*/ 287788 w 892585"/>
                <a:gd name="connsiteY1" fmla="*/ 450218 h 450217"/>
                <a:gd name="connsiteX2" fmla="*/ 0 w 892585"/>
                <a:gd name="connsiteY2" fmla="*/ 4712 h 450217"/>
                <a:gd name="connsiteX3" fmla="*/ 8963 w 892585"/>
                <a:gd name="connsiteY3" fmla="*/ 0 h 450217"/>
                <a:gd name="connsiteX4" fmla="*/ 293804 w 892585"/>
                <a:gd name="connsiteY4" fmla="*/ 440904 h 450217"/>
                <a:gd name="connsiteX5" fmla="*/ 892585 w 892585"/>
                <a:gd name="connsiteY5" fmla="*/ 440904 h 450217"/>
                <a:gd name="connsiteX6" fmla="*/ 892585 w 892585"/>
                <a:gd name="connsiteY6" fmla="*/ 450218 h 45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2585" h="450217">
                  <a:moveTo>
                    <a:pt x="892585" y="450218"/>
                  </a:moveTo>
                  <a:lnTo>
                    <a:pt x="287788" y="450218"/>
                  </a:lnTo>
                  <a:lnTo>
                    <a:pt x="0" y="4712"/>
                  </a:lnTo>
                  <a:lnTo>
                    <a:pt x="8963" y="0"/>
                  </a:lnTo>
                  <a:lnTo>
                    <a:pt x="293804" y="440904"/>
                  </a:lnTo>
                  <a:lnTo>
                    <a:pt x="892585" y="440904"/>
                  </a:lnTo>
                  <a:lnTo>
                    <a:pt x="892585" y="450218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2107443-4F53-4D99-A592-AA3DBC74B81C}"/>
                </a:ext>
              </a:extLst>
            </p:cNvPr>
            <p:cNvSpPr/>
            <p:nvPr/>
          </p:nvSpPr>
          <p:spPr>
            <a:xfrm>
              <a:off x="1962946" y="2151197"/>
              <a:ext cx="600990" cy="938455"/>
            </a:xfrm>
            <a:custGeom>
              <a:avLst/>
              <a:gdLst>
                <a:gd name="connsiteX0" fmla="*/ 591046 w 600990"/>
                <a:gd name="connsiteY0" fmla="*/ 938456 h 938455"/>
                <a:gd name="connsiteX1" fmla="*/ 259181 w 600990"/>
                <a:gd name="connsiteY1" fmla="*/ 9313 h 938455"/>
                <a:gd name="connsiteX2" fmla="*/ 0 w 600990"/>
                <a:gd name="connsiteY2" fmla="*/ 9313 h 938455"/>
                <a:gd name="connsiteX3" fmla="*/ 0 w 600990"/>
                <a:gd name="connsiteY3" fmla="*/ 0 h 938455"/>
                <a:gd name="connsiteX4" fmla="*/ 266671 w 600990"/>
                <a:gd name="connsiteY4" fmla="*/ 0 h 938455"/>
                <a:gd name="connsiteX5" fmla="*/ 267898 w 600990"/>
                <a:gd name="connsiteY5" fmla="*/ 3287 h 938455"/>
                <a:gd name="connsiteX6" fmla="*/ 600991 w 600990"/>
                <a:gd name="connsiteY6" fmla="*/ 935607 h 938455"/>
                <a:gd name="connsiteX7" fmla="*/ 591046 w 600990"/>
                <a:gd name="connsiteY7" fmla="*/ 938456 h 938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0990" h="938455">
                  <a:moveTo>
                    <a:pt x="591046" y="938456"/>
                  </a:moveTo>
                  <a:lnTo>
                    <a:pt x="259181" y="9313"/>
                  </a:lnTo>
                  <a:lnTo>
                    <a:pt x="0" y="9313"/>
                  </a:lnTo>
                  <a:lnTo>
                    <a:pt x="0" y="0"/>
                  </a:lnTo>
                  <a:lnTo>
                    <a:pt x="266671" y="0"/>
                  </a:lnTo>
                  <a:lnTo>
                    <a:pt x="267898" y="3287"/>
                  </a:lnTo>
                  <a:lnTo>
                    <a:pt x="600991" y="935607"/>
                  </a:lnTo>
                  <a:lnTo>
                    <a:pt x="591046" y="938456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0492F8-875F-48F9-9590-D6A5803DCEB0}"/>
                </a:ext>
              </a:extLst>
            </p:cNvPr>
            <p:cNvSpPr/>
            <p:nvPr/>
          </p:nvSpPr>
          <p:spPr>
            <a:xfrm>
              <a:off x="1703888" y="3197578"/>
              <a:ext cx="475267" cy="244009"/>
            </a:xfrm>
            <a:custGeom>
              <a:avLst/>
              <a:gdLst>
                <a:gd name="connsiteX0" fmla="*/ 467533 w 475267"/>
                <a:gd name="connsiteY0" fmla="*/ 244009 h 244009"/>
                <a:gd name="connsiteX1" fmla="*/ 231434 w 475267"/>
                <a:gd name="connsiteY1" fmla="*/ 9204 h 244009"/>
                <a:gd name="connsiteX2" fmla="*/ 0 w 475267"/>
                <a:gd name="connsiteY2" fmla="*/ 9204 h 244009"/>
                <a:gd name="connsiteX3" fmla="*/ 0 w 475267"/>
                <a:gd name="connsiteY3" fmla="*/ 0 h 244009"/>
                <a:gd name="connsiteX4" fmla="*/ 236099 w 475267"/>
                <a:gd name="connsiteY4" fmla="*/ 0 h 244009"/>
                <a:gd name="connsiteX5" fmla="*/ 475268 w 475267"/>
                <a:gd name="connsiteY5" fmla="*/ 237874 h 244009"/>
                <a:gd name="connsiteX6" fmla="*/ 467533 w 475267"/>
                <a:gd name="connsiteY6" fmla="*/ 244009 h 244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5267" h="244009">
                  <a:moveTo>
                    <a:pt x="467533" y="244009"/>
                  </a:moveTo>
                  <a:lnTo>
                    <a:pt x="231434" y="9204"/>
                  </a:lnTo>
                  <a:lnTo>
                    <a:pt x="0" y="9204"/>
                  </a:lnTo>
                  <a:lnTo>
                    <a:pt x="0" y="0"/>
                  </a:lnTo>
                  <a:lnTo>
                    <a:pt x="236099" y="0"/>
                  </a:lnTo>
                  <a:lnTo>
                    <a:pt x="475268" y="237874"/>
                  </a:lnTo>
                  <a:lnTo>
                    <a:pt x="467533" y="244009"/>
                  </a:ln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6EEF897-C3F0-40B5-AA8A-507D1C70F733}"/>
                </a:ext>
              </a:extLst>
            </p:cNvPr>
            <p:cNvSpPr/>
            <p:nvPr/>
          </p:nvSpPr>
          <p:spPr>
            <a:xfrm>
              <a:off x="3692376" y="3219601"/>
              <a:ext cx="283122" cy="230751"/>
            </a:xfrm>
            <a:custGeom>
              <a:avLst/>
              <a:gdLst>
                <a:gd name="connsiteX0" fmla="*/ 283103 w 283122"/>
                <a:gd name="connsiteY0" fmla="*/ -1 h 230751"/>
                <a:gd name="connsiteX1" fmla="*/ 1700 w 283122"/>
                <a:gd name="connsiteY1" fmla="*/ 230751 h 230751"/>
                <a:gd name="connsiteX2" fmla="*/ -19 w 283122"/>
                <a:gd name="connsiteY2" fmla="*/ 230751 h 230751"/>
                <a:gd name="connsiteX3" fmla="*/ -19 w 283122"/>
                <a:gd name="connsiteY3" fmla="*/ 143096 h 230751"/>
                <a:gd name="connsiteX4" fmla="*/ 184146 w 283122"/>
                <a:gd name="connsiteY4" fmla="*/ 109 h 23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122" h="230751">
                  <a:moveTo>
                    <a:pt x="283103" y="-1"/>
                  </a:moveTo>
                  <a:cubicBezTo>
                    <a:pt x="270728" y="130484"/>
                    <a:pt x="148430" y="230762"/>
                    <a:pt x="1700" y="230751"/>
                  </a:cubicBezTo>
                  <a:lnTo>
                    <a:pt x="-19" y="230751"/>
                  </a:lnTo>
                  <a:lnTo>
                    <a:pt x="-19" y="143096"/>
                  </a:lnTo>
                  <a:cubicBezTo>
                    <a:pt x="92591" y="142745"/>
                    <a:pt x="170947" y="81913"/>
                    <a:pt x="184146" y="109"/>
                  </a:cubicBezTo>
                  <a:close/>
                </a:path>
              </a:pathLst>
            </a:custGeom>
            <a:solidFill>
              <a:srgbClr val="68E1FD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3A43C80-277F-4487-AE6A-A6FDCDE40FB2}"/>
                </a:ext>
              </a:extLst>
            </p:cNvPr>
            <p:cNvSpPr/>
            <p:nvPr/>
          </p:nvSpPr>
          <p:spPr>
            <a:xfrm>
              <a:off x="3692376" y="3219601"/>
              <a:ext cx="283122" cy="230751"/>
            </a:xfrm>
            <a:custGeom>
              <a:avLst/>
              <a:gdLst>
                <a:gd name="connsiteX0" fmla="*/ 283103 w 283122"/>
                <a:gd name="connsiteY0" fmla="*/ -1 h 230751"/>
                <a:gd name="connsiteX1" fmla="*/ 1700 w 283122"/>
                <a:gd name="connsiteY1" fmla="*/ 230751 h 230751"/>
                <a:gd name="connsiteX2" fmla="*/ -19 w 283122"/>
                <a:gd name="connsiteY2" fmla="*/ 230751 h 230751"/>
                <a:gd name="connsiteX3" fmla="*/ -19 w 283122"/>
                <a:gd name="connsiteY3" fmla="*/ 143096 h 230751"/>
                <a:gd name="connsiteX4" fmla="*/ 184146 w 283122"/>
                <a:gd name="connsiteY4" fmla="*/ 109 h 23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122" h="230751">
                  <a:moveTo>
                    <a:pt x="283103" y="-1"/>
                  </a:moveTo>
                  <a:cubicBezTo>
                    <a:pt x="270728" y="130484"/>
                    <a:pt x="148430" y="230762"/>
                    <a:pt x="1700" y="230751"/>
                  </a:cubicBezTo>
                  <a:lnTo>
                    <a:pt x="-19" y="230751"/>
                  </a:lnTo>
                  <a:lnTo>
                    <a:pt x="-19" y="143096"/>
                  </a:lnTo>
                  <a:cubicBezTo>
                    <a:pt x="92591" y="142745"/>
                    <a:pt x="170947" y="81913"/>
                    <a:pt x="184146" y="109"/>
                  </a:cubicBezTo>
                  <a:close/>
                </a:path>
              </a:pathLst>
            </a:custGeom>
            <a:solidFill>
              <a:srgbClr val="FFFFFF"/>
            </a:solidFill>
            <a:ln w="122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0" name="矩形 21">
            <a:extLst>
              <a:ext uri="{FF2B5EF4-FFF2-40B4-BE49-F238E27FC236}">
                <a16:creationId xmlns:a16="http://schemas.microsoft.com/office/drawing/2014/main" id="{9C398FC4-062C-4E4C-9AF1-6C0940CDC013}"/>
              </a:ext>
            </a:extLst>
          </p:cNvPr>
          <p:cNvSpPr/>
          <p:nvPr/>
        </p:nvSpPr>
        <p:spPr>
          <a:xfrm rot="2700000">
            <a:off x="4293232" y="-1048111"/>
            <a:ext cx="2110257" cy="2110256"/>
          </a:xfrm>
          <a:prstGeom prst="rect">
            <a:avLst/>
          </a:pr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55EC180-EF5F-4F7C-8F88-4F6FFBED4E5A}"/>
              </a:ext>
            </a:extLst>
          </p:cNvPr>
          <p:cNvSpPr txBox="1"/>
          <p:nvPr/>
        </p:nvSpPr>
        <p:spPr>
          <a:xfrm>
            <a:off x="4098680" y="7017"/>
            <a:ext cx="2499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Thống</a:t>
            </a:r>
            <a:r>
              <a:rPr lang="en-US" sz="28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kê</a:t>
            </a:r>
            <a:endParaRPr lang="en-US" sz="28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842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, indoor, computer&#10;&#10;Description automatically generated">
            <a:extLst>
              <a:ext uri="{FF2B5EF4-FFF2-40B4-BE49-F238E27FC236}">
                <a16:creationId xmlns:a16="http://schemas.microsoft.com/office/drawing/2014/main" id="{A03ADAA1-E5E2-45AA-82F0-45DCB5748B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137"/>
            <a:ext cx="12192000" cy="6858000"/>
          </a:xfrm>
          <a:prstGeom prst="rect">
            <a:avLst/>
          </a:prstGeom>
        </p:spPr>
      </p:pic>
      <p:sp>
        <p:nvSpPr>
          <p:cNvPr id="7" name="任意形状 6"/>
          <p:cNvSpPr/>
          <p:nvPr/>
        </p:nvSpPr>
        <p:spPr>
          <a:xfrm rot="10800000" flipH="1" flipV="1">
            <a:off x="1815588" y="-22136"/>
            <a:ext cx="10376412" cy="6919225"/>
          </a:xfrm>
          <a:custGeom>
            <a:avLst/>
            <a:gdLst>
              <a:gd name="connsiteX0" fmla="*/ 4177553 w 4177553"/>
              <a:gd name="connsiteY0" fmla="*/ 3013636 h 3013636"/>
              <a:gd name="connsiteX1" fmla="*/ 2743200 w 4177553"/>
              <a:gd name="connsiteY1" fmla="*/ 3013636 h 3013636"/>
              <a:gd name="connsiteX2" fmla="*/ 0 w 4177553"/>
              <a:gd name="connsiteY2" fmla="*/ 648808 h 3013636"/>
              <a:gd name="connsiteX3" fmla="*/ 0 w 4177553"/>
              <a:gd name="connsiteY3" fmla="*/ 0 h 3013636"/>
              <a:gd name="connsiteX4" fmla="*/ 4177553 w 4177553"/>
              <a:gd name="connsiteY4" fmla="*/ 0 h 3013636"/>
              <a:gd name="connsiteX5" fmla="*/ 4177553 w 4177553"/>
              <a:gd name="connsiteY5" fmla="*/ 3013636 h 3013636"/>
              <a:gd name="connsiteX0" fmla="*/ 4183429 w 4183429"/>
              <a:gd name="connsiteY0" fmla="*/ 3013636 h 3013636"/>
              <a:gd name="connsiteX1" fmla="*/ 2749076 w 4183429"/>
              <a:gd name="connsiteY1" fmla="*/ 3013636 h 3013636"/>
              <a:gd name="connsiteX2" fmla="*/ 0 w 4183429"/>
              <a:gd name="connsiteY2" fmla="*/ 319774 h 3013636"/>
              <a:gd name="connsiteX3" fmla="*/ 5876 w 4183429"/>
              <a:gd name="connsiteY3" fmla="*/ 0 h 3013636"/>
              <a:gd name="connsiteX4" fmla="*/ 4183429 w 4183429"/>
              <a:gd name="connsiteY4" fmla="*/ 0 h 3013636"/>
              <a:gd name="connsiteX5" fmla="*/ 4183429 w 4183429"/>
              <a:gd name="connsiteY5" fmla="*/ 3013636 h 3013636"/>
              <a:gd name="connsiteX0" fmla="*/ 4533903 w 4533903"/>
              <a:gd name="connsiteY0" fmla="*/ 3023308 h 3023308"/>
              <a:gd name="connsiteX1" fmla="*/ 3099550 w 4533903"/>
              <a:gd name="connsiteY1" fmla="*/ 3023308 h 3023308"/>
              <a:gd name="connsiteX2" fmla="*/ 0 w 4533903"/>
              <a:gd name="connsiteY2" fmla="*/ 0 h 3023308"/>
              <a:gd name="connsiteX3" fmla="*/ 356350 w 4533903"/>
              <a:gd name="connsiteY3" fmla="*/ 9672 h 3023308"/>
              <a:gd name="connsiteX4" fmla="*/ 4533903 w 4533903"/>
              <a:gd name="connsiteY4" fmla="*/ 9672 h 3023308"/>
              <a:gd name="connsiteX5" fmla="*/ 4533903 w 4533903"/>
              <a:gd name="connsiteY5" fmla="*/ 3023308 h 302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33903" h="3023308">
                <a:moveTo>
                  <a:pt x="4533903" y="3023308"/>
                </a:moveTo>
                <a:lnTo>
                  <a:pt x="3099550" y="3023308"/>
                </a:lnTo>
                <a:lnTo>
                  <a:pt x="0" y="0"/>
                </a:lnTo>
                <a:lnTo>
                  <a:pt x="356350" y="9672"/>
                </a:lnTo>
                <a:lnTo>
                  <a:pt x="4533903" y="9672"/>
                </a:lnTo>
                <a:lnTo>
                  <a:pt x="4533903" y="3023308"/>
                </a:lnTo>
                <a:close/>
              </a:path>
            </a:pathLst>
          </a:cu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三角形 2"/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4" name="三角形 3"/>
          <p:cNvSpPr/>
          <p:nvPr/>
        </p:nvSpPr>
        <p:spPr>
          <a:xfrm>
            <a:off x="0" y="4522668"/>
            <a:ext cx="2743200" cy="236482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/>
          <p:cNvSpPr/>
          <p:nvPr/>
        </p:nvSpPr>
        <p:spPr>
          <a:xfrm rot="5400000">
            <a:off x="6596459" y="3830695"/>
            <a:ext cx="94130" cy="898234"/>
          </a:xfrm>
          <a:prstGeom prst="rect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C968E5-8EB4-43F3-972A-F3821F1F9DB3}"/>
              </a:ext>
            </a:extLst>
          </p:cNvPr>
          <p:cNvSpPr txBox="1"/>
          <p:nvPr/>
        </p:nvSpPr>
        <p:spPr>
          <a:xfrm>
            <a:off x="6059377" y="2894857"/>
            <a:ext cx="54113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Cơ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sở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dữ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iệu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</a:p>
          <a:p>
            <a:pPr algn="ctr"/>
            <a:r>
              <a:rPr lang="en-US" sz="2800" dirty="0">
                <a:solidFill>
                  <a:schemeClr val="bg1"/>
                </a:solidFill>
                <a:latin typeface="SVN-Gotham Light" pitchFamily="2" charset="0"/>
                <a:cs typeface="SVN-Gotham Light" pitchFamily="2" charset="0"/>
              </a:rPr>
              <a:t>(Database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D3EB4B3-A99B-44A1-B9AF-EAB213DB47F1}"/>
              </a:ext>
            </a:extLst>
          </p:cNvPr>
          <p:cNvGrpSpPr/>
          <p:nvPr/>
        </p:nvGrpSpPr>
        <p:grpSpPr>
          <a:xfrm>
            <a:off x="7828724" y="1328669"/>
            <a:ext cx="1574356" cy="1118663"/>
            <a:chOff x="7828724" y="1328669"/>
            <a:chExt cx="1574356" cy="1118663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2F78B57-7465-44A8-9891-07E030845F5A}"/>
                </a:ext>
              </a:extLst>
            </p:cNvPr>
            <p:cNvSpPr txBox="1"/>
            <p:nvPr/>
          </p:nvSpPr>
          <p:spPr>
            <a:xfrm>
              <a:off x="7828724" y="1328669"/>
              <a:ext cx="1574356" cy="965136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5400" b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ea typeface="Avenir Book Oblique" charset="0"/>
                  <a:cs typeface="Times New Roman" panose="02020603050405020304" pitchFamily="18" charset="0"/>
                </a:rPr>
                <a:t> III</a:t>
              </a:r>
              <a:endParaRPr kumimoji="0" lang="zh-CN" altLang="en-US" sz="5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Avenir Book Oblique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AEA34AD-05C2-4EF1-8556-BD4F4070513B}"/>
                </a:ext>
              </a:extLst>
            </p:cNvPr>
            <p:cNvSpPr/>
            <p:nvPr/>
          </p:nvSpPr>
          <p:spPr>
            <a:xfrm>
              <a:off x="7909560" y="1328669"/>
              <a:ext cx="1118663" cy="1118663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5652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4" grpId="0" animBg="1"/>
      <p:bldP spid="9" grpId="0" animBg="1"/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5F78230-DB6A-413B-AB69-6483CC6423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3055" y="607884"/>
            <a:ext cx="7457384" cy="5788451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F533DEF-44AC-4886-948C-096EF1F3F9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340" y="3016093"/>
            <a:ext cx="2849880" cy="214793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F5F5335-B2BC-4C51-81EB-62A736FABC37}"/>
              </a:ext>
            </a:extLst>
          </p:cNvPr>
          <p:cNvSpPr txBox="1"/>
          <p:nvPr/>
        </p:nvSpPr>
        <p:spPr>
          <a:xfrm>
            <a:off x="548640" y="694589"/>
            <a:ext cx="3437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Lượ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Đồ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Quan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Hệ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BAB05C-8C9B-4ECF-8F87-5639417D04D4}"/>
              </a:ext>
            </a:extLst>
          </p:cNvPr>
          <p:cNvCxnSpPr/>
          <p:nvPr/>
        </p:nvCxnSpPr>
        <p:spPr>
          <a:xfrm>
            <a:off x="594360" y="1217214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三角形 20">
            <a:extLst>
              <a:ext uri="{FF2B5EF4-FFF2-40B4-BE49-F238E27FC236}">
                <a16:creationId xmlns:a16="http://schemas.microsoft.com/office/drawing/2014/main" id="{F03A6D1D-B57B-4142-BA01-DEF08C49D29B}"/>
              </a:ext>
            </a:extLst>
          </p:cNvPr>
          <p:cNvSpPr/>
          <p:nvPr/>
        </p:nvSpPr>
        <p:spPr>
          <a:xfrm rot="6230001">
            <a:off x="-452562" y="604492"/>
            <a:ext cx="1150658" cy="641856"/>
          </a:xfrm>
          <a:prstGeom prst="triangle">
            <a:avLst/>
          </a:prstGeom>
          <a:blipFill dpi="0" rotWithShape="0">
            <a:blip r:embed="rId5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11570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6" presetClass="entr" presetSubtype="2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people standing around a table&#10;&#10;Description automatically generated with low confidence">
            <a:extLst>
              <a:ext uri="{FF2B5EF4-FFF2-40B4-BE49-F238E27FC236}">
                <a16:creationId xmlns:a16="http://schemas.microsoft.com/office/drawing/2014/main" id="{87D2318B-B32D-4811-83D1-B1E99E8ECAD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90" t="8038" r="10299" b="2591"/>
          <a:stretch/>
        </p:blipFill>
        <p:spPr>
          <a:xfrm>
            <a:off x="441816" y="1656196"/>
            <a:ext cx="6069199" cy="5194784"/>
          </a:xfrm>
          <a:prstGeom prst="rect">
            <a:avLst/>
          </a:prstGeom>
        </p:spPr>
      </p:pic>
      <p:sp>
        <p:nvSpPr>
          <p:cNvPr id="2" name="三角形 1"/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3" name="三角形 2"/>
          <p:cNvSpPr/>
          <p:nvPr/>
        </p:nvSpPr>
        <p:spPr>
          <a:xfrm>
            <a:off x="0" y="4493172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2F78B57-7465-44A8-9891-07E030845F5A}"/>
              </a:ext>
            </a:extLst>
          </p:cNvPr>
          <p:cNvSpPr txBox="1"/>
          <p:nvPr/>
        </p:nvSpPr>
        <p:spPr>
          <a:xfrm>
            <a:off x="1657433" y="837997"/>
            <a:ext cx="3714056" cy="107927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6000" b="1" i="1" dirty="0" err="1">
                <a:solidFill>
                  <a:srgbClr val="2E2E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venir Book Oblique" charset="0"/>
                <a:ea typeface="Avenir Book Oblique" charset="0"/>
                <a:cs typeface="Avenir Book Oblique" charset="0"/>
              </a:rPr>
              <a:t>Thành</a:t>
            </a:r>
            <a:r>
              <a:rPr lang="en-US" altLang="zh-CN" sz="6000" b="1" i="1" dirty="0">
                <a:solidFill>
                  <a:srgbClr val="2E2E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venir Book Oblique" charset="0"/>
                <a:ea typeface="Avenir Book Oblique" charset="0"/>
                <a:cs typeface="Avenir Book Oblique" charset="0"/>
              </a:rPr>
              <a:t> </a:t>
            </a:r>
            <a:r>
              <a:rPr lang="en-US" altLang="zh-CN" sz="6000" b="1" i="1" dirty="0" err="1">
                <a:solidFill>
                  <a:srgbClr val="2E2E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venir Book Oblique" charset="0"/>
                <a:ea typeface="Avenir Book Oblique" charset="0"/>
                <a:cs typeface="Avenir Book Oblique" charset="0"/>
              </a:rPr>
              <a:t>Viên</a:t>
            </a:r>
            <a:endParaRPr kumimoji="0" lang="zh-CN" altLang="en-US" sz="6000" b="1" i="1" u="none" strike="noStrike" kern="1200" cap="none" spc="0" normalizeH="0" baseline="0" noProof="0" dirty="0">
              <a:ln>
                <a:noFill/>
              </a:ln>
              <a:solidFill>
                <a:srgbClr val="2E2E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venir Book Oblique" charset="0"/>
              <a:ea typeface="Avenir Book Oblique" charset="0"/>
              <a:cs typeface="Avenir Book Oblique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0A7A471-DABD-499A-8D91-AF5A83281D3A}"/>
              </a:ext>
            </a:extLst>
          </p:cNvPr>
          <p:cNvGrpSpPr/>
          <p:nvPr/>
        </p:nvGrpSpPr>
        <p:grpSpPr>
          <a:xfrm>
            <a:off x="6557683" y="1147826"/>
            <a:ext cx="3871939" cy="807343"/>
            <a:chOff x="5567083" y="1204799"/>
            <a:chExt cx="4075951" cy="849882"/>
          </a:xfrm>
        </p:grpSpPr>
        <p:sp>
          <p:nvSpPr>
            <p:cNvPr id="8" name="矩形 7"/>
            <p:cNvSpPr/>
            <p:nvPr/>
          </p:nvSpPr>
          <p:spPr>
            <a:xfrm>
              <a:off x="5567083" y="1250330"/>
              <a:ext cx="84292" cy="804351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73950C6-A6A2-45A9-9068-DB73591213B9}"/>
                </a:ext>
              </a:extLst>
            </p:cNvPr>
            <p:cNvSpPr txBox="1"/>
            <p:nvPr/>
          </p:nvSpPr>
          <p:spPr>
            <a:xfrm>
              <a:off x="5779786" y="1204799"/>
              <a:ext cx="3863248" cy="809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Diệp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Ông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Đại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Quang</a:t>
              </a:r>
            </a:p>
            <a:p>
              <a:r>
                <a:rPr lang="en-US" sz="2000" b="0" i="0" dirty="0">
                  <a:solidFill>
                    <a:srgbClr val="1C1E21"/>
                  </a:solidFill>
                  <a:effectLst/>
                  <a:latin typeface="SVN-Gotham Light" pitchFamily="2" charset="0"/>
                  <a:cs typeface="SVN-Gotham Light" pitchFamily="2" charset="0"/>
                </a:rPr>
                <a:t>(PS15144)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A6BA981-FAEB-4311-8F34-2DDCB99E7320}"/>
              </a:ext>
            </a:extLst>
          </p:cNvPr>
          <p:cNvGrpSpPr/>
          <p:nvPr/>
        </p:nvGrpSpPr>
        <p:grpSpPr>
          <a:xfrm>
            <a:off x="6540410" y="2234488"/>
            <a:ext cx="3889212" cy="788835"/>
            <a:chOff x="5567083" y="1224283"/>
            <a:chExt cx="4094135" cy="830399"/>
          </a:xfrm>
        </p:grpSpPr>
        <p:sp>
          <p:nvSpPr>
            <p:cNvPr id="33" name="矩形 7">
              <a:extLst>
                <a:ext uri="{FF2B5EF4-FFF2-40B4-BE49-F238E27FC236}">
                  <a16:creationId xmlns:a16="http://schemas.microsoft.com/office/drawing/2014/main" id="{EAF39AB3-2A69-475D-85A2-5916CE41D3D4}"/>
                </a:ext>
              </a:extLst>
            </p:cNvPr>
            <p:cNvSpPr/>
            <p:nvPr/>
          </p:nvSpPr>
          <p:spPr>
            <a:xfrm>
              <a:off x="5567083" y="1250331"/>
              <a:ext cx="84292" cy="804351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F7F5DE6-711C-40DC-99EA-62B062DD53E2}"/>
                </a:ext>
              </a:extLst>
            </p:cNvPr>
            <p:cNvSpPr txBox="1"/>
            <p:nvPr/>
          </p:nvSpPr>
          <p:spPr>
            <a:xfrm>
              <a:off x="5797970" y="1224283"/>
              <a:ext cx="3863248" cy="809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Trần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Gia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Bảo</a:t>
              </a:r>
              <a:endParaRPr lang="en-US" sz="2400" dirty="0">
                <a:latin typeface="SVN-Gotham Bold" pitchFamily="2" charset="0"/>
                <a:cs typeface="SVN-Gotham Bold" pitchFamily="2" charset="0"/>
              </a:endParaRPr>
            </a:p>
            <a:p>
              <a:r>
                <a:rPr lang="en-US" sz="2000" b="0" i="0" dirty="0">
                  <a:effectLst/>
                  <a:latin typeface="SVN-Gotham Light" pitchFamily="2" charset="0"/>
                  <a:cs typeface="SVN-Gotham Light" pitchFamily="2" charset="0"/>
                </a:rPr>
                <a:t>(PS15149)</a:t>
              </a:r>
              <a:endParaRPr lang="en-US" sz="2000" dirty="0">
                <a:latin typeface="SVN-Gotham Light" pitchFamily="2" charset="0"/>
                <a:cs typeface="SVN-Gotham Light" pitchFamily="2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83F33D5-C865-4B4E-AAC1-41481821EF6B}"/>
              </a:ext>
            </a:extLst>
          </p:cNvPr>
          <p:cNvGrpSpPr/>
          <p:nvPr/>
        </p:nvGrpSpPr>
        <p:grpSpPr>
          <a:xfrm>
            <a:off x="6531397" y="3279009"/>
            <a:ext cx="3898225" cy="830997"/>
            <a:chOff x="5567083" y="1205619"/>
            <a:chExt cx="4103622" cy="874782"/>
          </a:xfrm>
        </p:grpSpPr>
        <p:sp>
          <p:nvSpPr>
            <p:cNvPr id="53" name="矩形 7">
              <a:extLst>
                <a:ext uri="{FF2B5EF4-FFF2-40B4-BE49-F238E27FC236}">
                  <a16:creationId xmlns:a16="http://schemas.microsoft.com/office/drawing/2014/main" id="{B177F5A8-82DD-4F0C-BFBC-767A3269AF1E}"/>
                </a:ext>
              </a:extLst>
            </p:cNvPr>
            <p:cNvSpPr/>
            <p:nvPr/>
          </p:nvSpPr>
          <p:spPr>
            <a:xfrm>
              <a:off x="5567083" y="1250331"/>
              <a:ext cx="84292" cy="804351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EEADBD5-8210-4E45-BCBF-60ECDA4B8386}"/>
                </a:ext>
              </a:extLst>
            </p:cNvPr>
            <p:cNvSpPr txBox="1"/>
            <p:nvPr/>
          </p:nvSpPr>
          <p:spPr>
            <a:xfrm>
              <a:off x="5807457" y="1205619"/>
              <a:ext cx="3863248" cy="874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Trần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Hi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Hữu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Phước</a:t>
              </a:r>
              <a:endParaRPr lang="en-US" sz="2400" dirty="0">
                <a:latin typeface="SVN-Gotham Bold" pitchFamily="2" charset="0"/>
                <a:cs typeface="SVN-Gotham Bold" pitchFamily="2" charset="0"/>
              </a:endParaRPr>
            </a:p>
            <a:p>
              <a:r>
                <a:rPr lang="en-US" sz="2400" b="0" i="0" dirty="0">
                  <a:effectLst/>
                  <a:latin typeface="Helvetica" panose="020B0604020202020204" pitchFamily="34" charset="0"/>
                </a:rPr>
                <a:t>(</a:t>
              </a:r>
              <a:r>
                <a:rPr lang="en-US" sz="2000" b="0" i="0" dirty="0">
                  <a:effectLst/>
                  <a:latin typeface="SVN-Gotham Light" pitchFamily="2" charset="0"/>
                  <a:cs typeface="SVN-Gotham Light" pitchFamily="2" charset="0"/>
                </a:rPr>
                <a:t>PS18096)</a:t>
              </a:r>
              <a:endParaRPr lang="en-US" sz="2400" dirty="0">
                <a:latin typeface="SVN-Gotham Light" pitchFamily="2" charset="0"/>
                <a:cs typeface="SVN-Gotham Light" pitchFamily="2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A3638D9-9BC9-4310-86F5-C58A6C76041A}"/>
              </a:ext>
            </a:extLst>
          </p:cNvPr>
          <p:cNvGrpSpPr/>
          <p:nvPr/>
        </p:nvGrpSpPr>
        <p:grpSpPr>
          <a:xfrm>
            <a:off x="6537622" y="4380911"/>
            <a:ext cx="3892000" cy="769441"/>
            <a:chOff x="5567083" y="1247361"/>
            <a:chExt cx="4097069" cy="809984"/>
          </a:xfrm>
        </p:grpSpPr>
        <p:sp>
          <p:nvSpPr>
            <p:cNvPr id="58" name="矩形 7">
              <a:extLst>
                <a:ext uri="{FF2B5EF4-FFF2-40B4-BE49-F238E27FC236}">
                  <a16:creationId xmlns:a16="http://schemas.microsoft.com/office/drawing/2014/main" id="{5728195B-971D-4B04-BAFD-EC7681F23FAF}"/>
                </a:ext>
              </a:extLst>
            </p:cNvPr>
            <p:cNvSpPr/>
            <p:nvPr/>
          </p:nvSpPr>
          <p:spPr>
            <a:xfrm>
              <a:off x="5567083" y="1250331"/>
              <a:ext cx="84292" cy="804351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C3D0BF3-9544-4FDB-B995-FF2F4E0925F5}"/>
                </a:ext>
              </a:extLst>
            </p:cNvPr>
            <p:cNvSpPr txBox="1"/>
            <p:nvPr/>
          </p:nvSpPr>
          <p:spPr>
            <a:xfrm>
              <a:off x="5800904" y="1247361"/>
              <a:ext cx="3863248" cy="809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Trần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Thanh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Tùng</a:t>
              </a:r>
              <a:endParaRPr lang="en-US" sz="2400" dirty="0">
                <a:latin typeface="SVN-Gotham Bold" pitchFamily="2" charset="0"/>
                <a:cs typeface="SVN-Gotham Bold" pitchFamily="2" charset="0"/>
              </a:endParaRPr>
            </a:p>
            <a:p>
              <a:pPr algn="l"/>
              <a:r>
                <a:rPr lang="en-US" sz="2000" b="0" i="0" dirty="0">
                  <a:effectLst/>
                  <a:latin typeface="SVN-Gotham Light" pitchFamily="2" charset="0"/>
                  <a:cs typeface="SVN-Gotham Light" pitchFamily="2" charset="0"/>
                </a:rPr>
                <a:t>(PS15148)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C273051-F2C1-41DA-ABAA-9AADA7D6D958}"/>
              </a:ext>
            </a:extLst>
          </p:cNvPr>
          <p:cNvGrpSpPr/>
          <p:nvPr/>
        </p:nvGrpSpPr>
        <p:grpSpPr>
          <a:xfrm>
            <a:off x="6543847" y="5377178"/>
            <a:ext cx="3885775" cy="832897"/>
            <a:chOff x="5567083" y="1177900"/>
            <a:chExt cx="4090516" cy="876782"/>
          </a:xfrm>
        </p:grpSpPr>
        <p:sp>
          <p:nvSpPr>
            <p:cNvPr id="63" name="矩形 7">
              <a:extLst>
                <a:ext uri="{FF2B5EF4-FFF2-40B4-BE49-F238E27FC236}">
                  <a16:creationId xmlns:a16="http://schemas.microsoft.com/office/drawing/2014/main" id="{19904B2B-CBA7-492A-8061-3FF53701DC06}"/>
                </a:ext>
              </a:extLst>
            </p:cNvPr>
            <p:cNvSpPr/>
            <p:nvPr/>
          </p:nvSpPr>
          <p:spPr>
            <a:xfrm>
              <a:off x="5567083" y="1250331"/>
              <a:ext cx="84292" cy="804351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575FA1A-7C39-4E3A-BE7B-F06AB761674E}"/>
                </a:ext>
              </a:extLst>
            </p:cNvPr>
            <p:cNvSpPr txBox="1"/>
            <p:nvPr/>
          </p:nvSpPr>
          <p:spPr>
            <a:xfrm>
              <a:off x="5794351" y="1177900"/>
              <a:ext cx="3863248" cy="809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Nguyễn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Hoàng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Nhi</a:t>
              </a:r>
            </a:p>
            <a:p>
              <a:r>
                <a:rPr lang="en-US" sz="2000" dirty="0">
                  <a:latin typeface="SVN-Gotham Light" pitchFamily="2" charset="0"/>
                  <a:cs typeface="SVN-Gotham Light" pitchFamily="2" charset="0"/>
                </a:rPr>
                <a:t>(PS15064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14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401960F-E265-4E24-BC40-D5C7F8B364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685833"/>
              </p:ext>
            </p:extLst>
          </p:nvPr>
        </p:nvGraphicFramePr>
        <p:xfrm>
          <a:off x="4325492" y="1840042"/>
          <a:ext cx="7506744" cy="471291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76686">
                  <a:extLst>
                    <a:ext uri="{9D8B030D-6E8A-4147-A177-3AD203B41FA5}">
                      <a16:colId xmlns:a16="http://schemas.microsoft.com/office/drawing/2014/main" val="2171935999"/>
                    </a:ext>
                  </a:extLst>
                </a:gridCol>
                <a:gridCol w="1876686">
                  <a:extLst>
                    <a:ext uri="{9D8B030D-6E8A-4147-A177-3AD203B41FA5}">
                      <a16:colId xmlns:a16="http://schemas.microsoft.com/office/drawing/2014/main" val="2943956181"/>
                    </a:ext>
                  </a:extLst>
                </a:gridCol>
                <a:gridCol w="1876686">
                  <a:extLst>
                    <a:ext uri="{9D8B030D-6E8A-4147-A177-3AD203B41FA5}">
                      <a16:colId xmlns:a16="http://schemas.microsoft.com/office/drawing/2014/main" val="1670104914"/>
                    </a:ext>
                  </a:extLst>
                </a:gridCol>
                <a:gridCol w="1876686">
                  <a:extLst>
                    <a:ext uri="{9D8B030D-6E8A-4147-A177-3AD203B41FA5}">
                      <a16:colId xmlns:a16="http://schemas.microsoft.com/office/drawing/2014/main" val="3199762659"/>
                    </a:ext>
                  </a:extLst>
                </a:gridCol>
              </a:tblGrid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uộ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ễ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giả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Kiể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ữ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iệu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4580624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HD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ó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ơ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56051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gayMua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gày</a:t>
                      </a:r>
                      <a:r>
                        <a:rPr lang="en-US" dirty="0"/>
                        <a:t> Mu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4296878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NV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iê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043784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ghiChu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622456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K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khách</a:t>
                      </a:r>
                      <a:r>
                        <a:rPr lang="en-US" dirty="0"/>
                        <a:t> ha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682326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36454C-4CE5-4453-83BB-842E90AC1031}"/>
              </a:ext>
            </a:extLst>
          </p:cNvPr>
          <p:cNvSpPr txBox="1"/>
          <p:nvPr/>
        </p:nvSpPr>
        <p:spPr>
          <a:xfrm>
            <a:off x="1281061" y="730901"/>
            <a:ext cx="43381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ấ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rú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bảng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(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Hóa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Đơn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190DF2-24CB-4F8B-980C-BCDE306C7CF1}"/>
              </a:ext>
            </a:extLst>
          </p:cNvPr>
          <p:cNvCxnSpPr/>
          <p:nvPr/>
        </p:nvCxnSpPr>
        <p:spPr>
          <a:xfrm>
            <a:off x="1326781" y="1253526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17">
            <a:extLst>
              <a:ext uri="{FF2B5EF4-FFF2-40B4-BE49-F238E27FC236}">
                <a16:creationId xmlns:a16="http://schemas.microsoft.com/office/drawing/2014/main" id="{D86F114D-3A74-4233-B055-7130FFD60D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0" y="509669"/>
            <a:ext cx="1281061" cy="96552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4D0EF45-4E98-4B42-9BC1-428EBF6C7E2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3805"/>
          <a:stretch/>
        </p:blipFill>
        <p:spPr>
          <a:xfrm>
            <a:off x="614649" y="2531465"/>
            <a:ext cx="2835488" cy="3330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568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401960F-E265-4E24-BC40-D5C7F8B364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088127"/>
              </p:ext>
            </p:extLst>
          </p:nvPr>
        </p:nvGraphicFramePr>
        <p:xfrm>
          <a:off x="4325492" y="1840042"/>
          <a:ext cx="7506744" cy="471291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76686">
                  <a:extLst>
                    <a:ext uri="{9D8B030D-6E8A-4147-A177-3AD203B41FA5}">
                      <a16:colId xmlns:a16="http://schemas.microsoft.com/office/drawing/2014/main" val="2171935999"/>
                    </a:ext>
                  </a:extLst>
                </a:gridCol>
                <a:gridCol w="1876686">
                  <a:extLst>
                    <a:ext uri="{9D8B030D-6E8A-4147-A177-3AD203B41FA5}">
                      <a16:colId xmlns:a16="http://schemas.microsoft.com/office/drawing/2014/main" val="2943956181"/>
                    </a:ext>
                  </a:extLst>
                </a:gridCol>
                <a:gridCol w="1876686">
                  <a:extLst>
                    <a:ext uri="{9D8B030D-6E8A-4147-A177-3AD203B41FA5}">
                      <a16:colId xmlns:a16="http://schemas.microsoft.com/office/drawing/2014/main" val="1670104914"/>
                    </a:ext>
                  </a:extLst>
                </a:gridCol>
                <a:gridCol w="1876686">
                  <a:extLst>
                    <a:ext uri="{9D8B030D-6E8A-4147-A177-3AD203B41FA5}">
                      <a16:colId xmlns:a16="http://schemas.microsoft.com/office/drawing/2014/main" val="3199762659"/>
                    </a:ext>
                  </a:extLst>
                </a:gridCol>
              </a:tblGrid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uộ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ễ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giả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Kiể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ữ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iệu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4580624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HDC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ó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ơn</a:t>
                      </a:r>
                      <a:r>
                        <a:rPr lang="en-US" dirty="0"/>
                        <a:t> chi </a:t>
                      </a:r>
                      <a:r>
                        <a:rPr lang="en-US" dirty="0" err="1"/>
                        <a:t>tiế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56051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Sa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sá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4296878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HD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ó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ơ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043784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oLuo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ố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ượ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tinyin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622456"/>
                  </a:ext>
                </a:extLst>
              </a:tr>
              <a:tr h="78548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iá</a:t>
                      </a:r>
                      <a:r>
                        <a:rPr lang="en-US" dirty="0"/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lo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682326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36454C-4CE5-4453-83BB-842E90AC1031}"/>
              </a:ext>
            </a:extLst>
          </p:cNvPr>
          <p:cNvSpPr txBox="1"/>
          <p:nvPr/>
        </p:nvSpPr>
        <p:spPr>
          <a:xfrm>
            <a:off x="1281061" y="730901"/>
            <a:ext cx="54795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ấ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rú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bảng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(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Hóa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Đơn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 chi 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tiết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190DF2-24CB-4F8B-980C-BCDE306C7CF1}"/>
              </a:ext>
            </a:extLst>
          </p:cNvPr>
          <p:cNvCxnSpPr/>
          <p:nvPr/>
        </p:nvCxnSpPr>
        <p:spPr>
          <a:xfrm>
            <a:off x="1326781" y="1253526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17">
            <a:extLst>
              <a:ext uri="{FF2B5EF4-FFF2-40B4-BE49-F238E27FC236}">
                <a16:creationId xmlns:a16="http://schemas.microsoft.com/office/drawing/2014/main" id="{D86F114D-3A74-4233-B055-7130FFD60D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0" y="509669"/>
            <a:ext cx="1281061" cy="96552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07452C-19F6-49D0-BB10-C2DC876C568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4753"/>
          <a:stretch/>
        </p:blipFill>
        <p:spPr>
          <a:xfrm>
            <a:off x="457927" y="2716558"/>
            <a:ext cx="3439516" cy="328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823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401960F-E265-4E24-BC40-D5C7F8B364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185846"/>
              </p:ext>
            </p:extLst>
          </p:nvPr>
        </p:nvGraphicFramePr>
        <p:xfrm>
          <a:off x="5387851" y="491073"/>
          <a:ext cx="6394420" cy="622451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98605">
                  <a:extLst>
                    <a:ext uri="{9D8B030D-6E8A-4147-A177-3AD203B41FA5}">
                      <a16:colId xmlns:a16="http://schemas.microsoft.com/office/drawing/2014/main" val="2171935999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2943956181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1670104914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3199762659"/>
                    </a:ext>
                  </a:extLst>
                </a:gridCol>
              </a:tblGrid>
              <a:tr h="61862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uộ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ễ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giả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Kiể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ữ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iệu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4580624"/>
                  </a:ext>
                </a:extLst>
              </a:tr>
              <a:tr h="61862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Sa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sá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56051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enSa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sá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4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4296878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acGia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á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Giả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4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043784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oTra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ố</a:t>
                      </a:r>
                      <a:r>
                        <a:rPr lang="en-US" dirty="0"/>
                        <a:t> Tra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mallint</a:t>
                      </a:r>
                      <a:r>
                        <a:rPr lang="en-US" dirty="0"/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622456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aCh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Đị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ỉ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6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7325743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viTr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Vị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rí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4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7424337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enLoa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oạ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4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64012227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xb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hà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xuất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bả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hcar</a:t>
                      </a:r>
                      <a:r>
                        <a:rPr lang="en-US" dirty="0"/>
                        <a:t>(30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90321126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h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Hì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ả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sá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62225216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iá</a:t>
                      </a:r>
                      <a:r>
                        <a:rPr lang="en-US" dirty="0"/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lo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682326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36454C-4CE5-4453-83BB-842E90AC1031}"/>
              </a:ext>
            </a:extLst>
          </p:cNvPr>
          <p:cNvSpPr txBox="1"/>
          <p:nvPr/>
        </p:nvSpPr>
        <p:spPr>
          <a:xfrm>
            <a:off x="1281061" y="730901"/>
            <a:ext cx="54795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ấ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rú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bảng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(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Sách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190DF2-24CB-4F8B-980C-BCDE306C7CF1}"/>
              </a:ext>
            </a:extLst>
          </p:cNvPr>
          <p:cNvCxnSpPr/>
          <p:nvPr/>
        </p:nvCxnSpPr>
        <p:spPr>
          <a:xfrm>
            <a:off x="1326781" y="1253526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979FDC92-A259-41EC-9103-1B786F1F64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447" y="491073"/>
            <a:ext cx="1320409" cy="9951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FDA80D3-65CD-4368-A9C8-AADDF78461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2701"/>
          <a:stretch/>
        </p:blipFill>
        <p:spPr>
          <a:xfrm>
            <a:off x="989870" y="2071242"/>
            <a:ext cx="3129446" cy="465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722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401960F-E265-4E24-BC40-D5C7F8B364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868847"/>
              </p:ext>
            </p:extLst>
          </p:nvPr>
        </p:nvGraphicFramePr>
        <p:xfrm>
          <a:off x="5283247" y="1513416"/>
          <a:ext cx="6723876" cy="520217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80969">
                  <a:extLst>
                    <a:ext uri="{9D8B030D-6E8A-4147-A177-3AD203B41FA5}">
                      <a16:colId xmlns:a16="http://schemas.microsoft.com/office/drawing/2014/main" val="2171935999"/>
                    </a:ext>
                  </a:extLst>
                </a:gridCol>
                <a:gridCol w="1680969">
                  <a:extLst>
                    <a:ext uri="{9D8B030D-6E8A-4147-A177-3AD203B41FA5}">
                      <a16:colId xmlns:a16="http://schemas.microsoft.com/office/drawing/2014/main" val="2943956181"/>
                    </a:ext>
                  </a:extLst>
                </a:gridCol>
                <a:gridCol w="1680969">
                  <a:extLst>
                    <a:ext uri="{9D8B030D-6E8A-4147-A177-3AD203B41FA5}">
                      <a16:colId xmlns:a16="http://schemas.microsoft.com/office/drawing/2014/main" val="1670104914"/>
                    </a:ext>
                  </a:extLst>
                </a:gridCol>
                <a:gridCol w="1680969">
                  <a:extLst>
                    <a:ext uri="{9D8B030D-6E8A-4147-A177-3AD203B41FA5}">
                      <a16:colId xmlns:a16="http://schemas.microsoft.com/office/drawing/2014/main" val="3199762659"/>
                    </a:ext>
                  </a:extLst>
                </a:gridCol>
              </a:tblGrid>
              <a:tr h="61862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uộ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ễ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giả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Kiể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ữ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iệu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4580624"/>
                  </a:ext>
                </a:extLst>
              </a:tr>
              <a:tr h="61862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L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Lô </a:t>
                      </a:r>
                      <a:r>
                        <a:rPr lang="en-US" dirty="0" err="1"/>
                        <a:t>hà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56051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gayNha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gày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ậ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e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4296878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NP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à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hố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043784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maNV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iê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622456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Sa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sá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7325743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iaNha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iá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ậ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lo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7424337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soLuo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Số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ượ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inyiin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64012227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chu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90321126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36454C-4CE5-4453-83BB-842E90AC1031}"/>
              </a:ext>
            </a:extLst>
          </p:cNvPr>
          <p:cNvSpPr txBox="1"/>
          <p:nvPr/>
        </p:nvSpPr>
        <p:spPr>
          <a:xfrm>
            <a:off x="1281061" y="730901"/>
            <a:ext cx="54795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ấ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rú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bảng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(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Nhập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Sách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190DF2-24CB-4F8B-980C-BCDE306C7CF1}"/>
              </a:ext>
            </a:extLst>
          </p:cNvPr>
          <p:cNvCxnSpPr/>
          <p:nvPr/>
        </p:nvCxnSpPr>
        <p:spPr>
          <a:xfrm>
            <a:off x="1326781" y="1253526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979FDC92-A259-41EC-9103-1B786F1F64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447" y="491073"/>
            <a:ext cx="1320409" cy="99518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5E81F5-8263-4010-843A-D53BAF1823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3788"/>
          <a:stretch/>
        </p:blipFill>
        <p:spPr>
          <a:xfrm>
            <a:off x="514333" y="2069189"/>
            <a:ext cx="3604983" cy="4646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740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401960F-E265-4E24-BC40-D5C7F8B364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791053"/>
              </p:ext>
            </p:extLst>
          </p:nvPr>
        </p:nvGraphicFramePr>
        <p:xfrm>
          <a:off x="5252767" y="2016880"/>
          <a:ext cx="6723876" cy="466949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80969">
                  <a:extLst>
                    <a:ext uri="{9D8B030D-6E8A-4147-A177-3AD203B41FA5}">
                      <a16:colId xmlns:a16="http://schemas.microsoft.com/office/drawing/2014/main" val="2171935999"/>
                    </a:ext>
                  </a:extLst>
                </a:gridCol>
                <a:gridCol w="1680969">
                  <a:extLst>
                    <a:ext uri="{9D8B030D-6E8A-4147-A177-3AD203B41FA5}">
                      <a16:colId xmlns:a16="http://schemas.microsoft.com/office/drawing/2014/main" val="2943956181"/>
                    </a:ext>
                  </a:extLst>
                </a:gridCol>
                <a:gridCol w="1680969">
                  <a:extLst>
                    <a:ext uri="{9D8B030D-6E8A-4147-A177-3AD203B41FA5}">
                      <a16:colId xmlns:a16="http://schemas.microsoft.com/office/drawing/2014/main" val="1670104914"/>
                    </a:ext>
                  </a:extLst>
                </a:gridCol>
                <a:gridCol w="1680969">
                  <a:extLst>
                    <a:ext uri="{9D8B030D-6E8A-4147-A177-3AD203B41FA5}">
                      <a16:colId xmlns:a16="http://schemas.microsoft.com/office/drawing/2014/main" val="3199762659"/>
                    </a:ext>
                  </a:extLst>
                </a:gridCol>
              </a:tblGrid>
              <a:tr h="61862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uộ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ễ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giả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Kiể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ữ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iệu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4580624"/>
                  </a:ext>
                </a:extLst>
              </a:tr>
              <a:tr h="618625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NP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à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hố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56051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enNP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à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hố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4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4296878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aCh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Đị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ỉ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6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043784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d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ố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i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oạ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nchar</a:t>
                      </a:r>
                      <a:r>
                        <a:rPr lang="en-US" dirty="0"/>
                        <a:t>(1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622456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ma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ma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char(3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7325743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og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Hình</a:t>
                      </a:r>
                      <a:r>
                        <a:rPr lang="en-US" dirty="0"/>
                        <a:t> logo NP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7424337"/>
                  </a:ext>
                </a:extLst>
              </a:tr>
              <a:tr h="55414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chu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90321126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36454C-4CE5-4453-83BB-842E90AC1031}"/>
              </a:ext>
            </a:extLst>
          </p:cNvPr>
          <p:cNvSpPr txBox="1"/>
          <p:nvPr/>
        </p:nvSpPr>
        <p:spPr>
          <a:xfrm>
            <a:off x="1281061" y="730901"/>
            <a:ext cx="54795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ấ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rú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bảng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(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Nhà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Phân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sz="2400" dirty="0" err="1">
                <a:latin typeface="SVN-Gotham Light" pitchFamily="2" charset="0"/>
                <a:cs typeface="SVN-Gotham Light" pitchFamily="2" charset="0"/>
              </a:rPr>
              <a:t>Phối</a:t>
            </a:r>
            <a:r>
              <a:rPr lang="en-US" sz="2400" dirty="0">
                <a:latin typeface="SVN-Gotham Light" pitchFamily="2" charset="0"/>
                <a:cs typeface="SVN-Gotham Light" pitchFamily="2" charset="0"/>
              </a:rPr>
              <a:t>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190DF2-24CB-4F8B-980C-BCDE306C7CF1}"/>
              </a:ext>
            </a:extLst>
          </p:cNvPr>
          <p:cNvCxnSpPr/>
          <p:nvPr/>
        </p:nvCxnSpPr>
        <p:spPr>
          <a:xfrm>
            <a:off x="1326781" y="1253526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4395F24-0BD6-41C0-A96B-FB34A20623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3734"/>
          <a:stretch/>
        </p:blipFill>
        <p:spPr>
          <a:xfrm>
            <a:off x="921395" y="2336323"/>
            <a:ext cx="3380782" cy="403060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9EA441-3CBB-417E-9128-B6EE963F0A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435518"/>
            <a:ext cx="1396362" cy="105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225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5A36454C-4CE5-4453-83BB-842E90AC1031}"/>
              </a:ext>
            </a:extLst>
          </p:cNvPr>
          <p:cNvSpPr txBox="1"/>
          <p:nvPr/>
        </p:nvSpPr>
        <p:spPr>
          <a:xfrm>
            <a:off x="1281061" y="730901"/>
            <a:ext cx="54795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ấ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rú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bảng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>
                <a:latin typeface="SVN-Gotham Light" pitchFamily="2" charset="0"/>
                <a:cs typeface="SVN-Gotham Light" pitchFamily="2" charset="0"/>
              </a:rPr>
              <a:t>(</a:t>
            </a:r>
            <a:r>
              <a:rPr lang="en-US" sz="2000" dirty="0" err="1">
                <a:latin typeface="SVN-Gotham Light" pitchFamily="2" charset="0"/>
                <a:cs typeface="SVN-Gotham Light" pitchFamily="2" charset="0"/>
              </a:rPr>
              <a:t>Nhân</a:t>
            </a:r>
            <a:r>
              <a:rPr lang="en-US" sz="2000" dirty="0"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sz="2000" dirty="0" err="1">
                <a:latin typeface="SVN-Gotham Light" pitchFamily="2" charset="0"/>
                <a:cs typeface="SVN-Gotham Light" pitchFamily="2" charset="0"/>
              </a:rPr>
              <a:t>Viên</a:t>
            </a:r>
            <a:r>
              <a:rPr lang="en-US" sz="2000" dirty="0">
                <a:latin typeface="SVN-Gotham Light" pitchFamily="2" charset="0"/>
                <a:cs typeface="SVN-Gotham Light" pitchFamily="2" charset="0"/>
              </a:rPr>
              <a:t>)</a:t>
            </a:r>
            <a:endParaRPr lang="en-US" sz="2400" dirty="0">
              <a:latin typeface="SVN-Gotham Light" pitchFamily="2" charset="0"/>
              <a:cs typeface="SVN-Gotham Light" pitchFamily="2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190DF2-24CB-4F8B-980C-BCDE306C7CF1}"/>
              </a:ext>
            </a:extLst>
          </p:cNvPr>
          <p:cNvCxnSpPr/>
          <p:nvPr/>
        </p:nvCxnSpPr>
        <p:spPr>
          <a:xfrm>
            <a:off x="1326781" y="1253526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949EA441-3CBB-417E-9128-B6EE963F0A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35518"/>
            <a:ext cx="1396362" cy="105243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9C8182-101F-4362-982A-EB614A615B1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4877"/>
          <a:stretch/>
        </p:blipFill>
        <p:spPr>
          <a:xfrm>
            <a:off x="1025683" y="2094895"/>
            <a:ext cx="2674268" cy="4669490"/>
          </a:xfrm>
          <a:prstGeom prst="rect">
            <a:avLst/>
          </a:prstGeom>
        </p:spPr>
      </p:pic>
      <p:graphicFrame>
        <p:nvGraphicFramePr>
          <p:cNvPr id="12" name="Table 10">
            <a:extLst>
              <a:ext uri="{FF2B5EF4-FFF2-40B4-BE49-F238E27FC236}">
                <a16:creationId xmlns:a16="http://schemas.microsoft.com/office/drawing/2014/main" id="{E6345CAD-690E-4478-B2E0-81BF9F5532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268944"/>
              </p:ext>
            </p:extLst>
          </p:nvPr>
        </p:nvGraphicFramePr>
        <p:xfrm>
          <a:off x="5527756" y="462750"/>
          <a:ext cx="6394420" cy="632110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98605">
                  <a:extLst>
                    <a:ext uri="{9D8B030D-6E8A-4147-A177-3AD203B41FA5}">
                      <a16:colId xmlns:a16="http://schemas.microsoft.com/office/drawing/2014/main" val="2171935999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2943956181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1670104914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3199762659"/>
                    </a:ext>
                  </a:extLst>
                </a:gridCol>
              </a:tblGrid>
              <a:tr h="564609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uộ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ễ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giả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Kiể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ữ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iệu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4580624"/>
                  </a:ext>
                </a:extLst>
              </a:tr>
              <a:tr h="564609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NV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iê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56051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enNV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iê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3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4296878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ioiT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iớ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1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043784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d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ố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i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oạ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nchar</a:t>
                      </a:r>
                      <a:r>
                        <a:rPr lang="en-US" dirty="0"/>
                        <a:t>(1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622456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gayS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gày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S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7325743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ma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ma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char(3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7424337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vaiTro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Va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rò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64012227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tKhau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ật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khẩu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char(2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90321126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aCh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Đị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ỉ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6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62225216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chu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25443775"/>
                  </a:ext>
                </a:extLst>
              </a:tr>
              <a:tr h="58419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h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Hì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ả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iê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6823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0507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5A36454C-4CE5-4453-83BB-842E90AC1031}"/>
              </a:ext>
            </a:extLst>
          </p:cNvPr>
          <p:cNvSpPr txBox="1"/>
          <p:nvPr/>
        </p:nvSpPr>
        <p:spPr>
          <a:xfrm>
            <a:off x="1281061" y="730901"/>
            <a:ext cx="54795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ấ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rú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bảng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>
                <a:latin typeface="SVN-Gotham Light" pitchFamily="2" charset="0"/>
                <a:cs typeface="SVN-Gotham Light" pitchFamily="2" charset="0"/>
              </a:rPr>
              <a:t>(</a:t>
            </a:r>
            <a:r>
              <a:rPr lang="en-US" sz="2000" dirty="0" err="1">
                <a:latin typeface="SVN-Gotham Light" pitchFamily="2" charset="0"/>
                <a:cs typeface="SVN-Gotham Light" pitchFamily="2" charset="0"/>
              </a:rPr>
              <a:t>khách</a:t>
            </a:r>
            <a:r>
              <a:rPr lang="en-US" sz="2000" dirty="0"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sz="2000" dirty="0" err="1">
                <a:latin typeface="SVN-Gotham Light" pitchFamily="2" charset="0"/>
                <a:cs typeface="SVN-Gotham Light" pitchFamily="2" charset="0"/>
              </a:rPr>
              <a:t>hàng</a:t>
            </a:r>
            <a:r>
              <a:rPr lang="en-US" sz="2000" dirty="0">
                <a:latin typeface="SVN-Gotham Light" pitchFamily="2" charset="0"/>
                <a:cs typeface="SVN-Gotham Light" pitchFamily="2" charset="0"/>
              </a:rPr>
              <a:t>)</a:t>
            </a:r>
            <a:endParaRPr lang="en-US" sz="2400" dirty="0">
              <a:latin typeface="SVN-Gotham Light" pitchFamily="2" charset="0"/>
              <a:cs typeface="SVN-Gotham Light" pitchFamily="2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190DF2-24CB-4F8B-980C-BCDE306C7CF1}"/>
              </a:ext>
            </a:extLst>
          </p:cNvPr>
          <p:cNvCxnSpPr/>
          <p:nvPr/>
        </p:nvCxnSpPr>
        <p:spPr>
          <a:xfrm>
            <a:off x="1326781" y="1253526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Table 10">
            <a:extLst>
              <a:ext uri="{FF2B5EF4-FFF2-40B4-BE49-F238E27FC236}">
                <a16:creationId xmlns:a16="http://schemas.microsoft.com/office/drawing/2014/main" id="{E6345CAD-690E-4478-B2E0-81BF9F5532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829981"/>
              </p:ext>
            </p:extLst>
          </p:nvPr>
        </p:nvGraphicFramePr>
        <p:xfrm>
          <a:off x="5497775" y="961733"/>
          <a:ext cx="6394420" cy="565370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98605">
                  <a:extLst>
                    <a:ext uri="{9D8B030D-6E8A-4147-A177-3AD203B41FA5}">
                      <a16:colId xmlns:a16="http://schemas.microsoft.com/office/drawing/2014/main" val="2171935999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2943956181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1670104914"/>
                    </a:ext>
                  </a:extLst>
                </a:gridCol>
                <a:gridCol w="1598605">
                  <a:extLst>
                    <a:ext uri="{9D8B030D-6E8A-4147-A177-3AD203B41FA5}">
                      <a16:colId xmlns:a16="http://schemas.microsoft.com/office/drawing/2014/main" val="3199762659"/>
                    </a:ext>
                  </a:extLst>
                </a:gridCol>
              </a:tblGrid>
              <a:tr h="564609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uộc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ễ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giả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Kiểu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dữ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liệu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>
                        <a:latin typeface="SVN-Gotham Bold" pitchFamily="2" charset="0"/>
                        <a:cs typeface="SVN-Gotham Bold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4580624"/>
                  </a:ext>
                </a:extLst>
              </a:tr>
              <a:tr h="564609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K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ã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khách</a:t>
                      </a:r>
                      <a:r>
                        <a:rPr lang="en-US" dirty="0"/>
                        <a:t> ha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56051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enK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khác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à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3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4296878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ioiT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iớ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í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1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7043784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d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ố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điê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hoạ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nchar</a:t>
                      </a:r>
                      <a:r>
                        <a:rPr lang="en-US" dirty="0"/>
                        <a:t>(1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622456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gayS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gày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S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7325743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capK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Cấp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khác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hà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tinyin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90321126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iaChi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Đị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ỉ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6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62225216"/>
                  </a:ext>
                </a:extLst>
              </a:tr>
              <a:tr h="505756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chu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Gh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chú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25443775"/>
                  </a:ext>
                </a:extLst>
              </a:tr>
              <a:tr h="584191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hin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Hì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ảnh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nhân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viê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Nvarchar</a:t>
                      </a:r>
                      <a:r>
                        <a:rPr lang="en-US" dirty="0"/>
                        <a:t>(50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t nu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682326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1C5E7A3-1575-4640-AA60-783F0C96B9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3444"/>
          <a:stretch/>
        </p:blipFill>
        <p:spPr>
          <a:xfrm>
            <a:off x="1326781" y="1987109"/>
            <a:ext cx="3207431" cy="4592964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978B125-C5C7-46B7-9C98-47F0A6DAE4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45719" y="404736"/>
            <a:ext cx="1379553" cy="1039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57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4E17DAD3-01C2-4F15-8D98-E623EB8214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" y="-22137"/>
            <a:ext cx="12183918" cy="6927704"/>
          </a:xfrm>
          <a:prstGeom prst="rect">
            <a:avLst/>
          </a:prstGeom>
        </p:spPr>
      </p:pic>
      <p:sp>
        <p:nvSpPr>
          <p:cNvPr id="7" name="任意形状 6"/>
          <p:cNvSpPr/>
          <p:nvPr/>
        </p:nvSpPr>
        <p:spPr>
          <a:xfrm rot="10800000" flipH="1" flipV="1">
            <a:off x="1815588" y="-22136"/>
            <a:ext cx="10376412" cy="6919225"/>
          </a:xfrm>
          <a:custGeom>
            <a:avLst/>
            <a:gdLst>
              <a:gd name="connsiteX0" fmla="*/ 4177553 w 4177553"/>
              <a:gd name="connsiteY0" fmla="*/ 3013636 h 3013636"/>
              <a:gd name="connsiteX1" fmla="*/ 2743200 w 4177553"/>
              <a:gd name="connsiteY1" fmla="*/ 3013636 h 3013636"/>
              <a:gd name="connsiteX2" fmla="*/ 0 w 4177553"/>
              <a:gd name="connsiteY2" fmla="*/ 648808 h 3013636"/>
              <a:gd name="connsiteX3" fmla="*/ 0 w 4177553"/>
              <a:gd name="connsiteY3" fmla="*/ 0 h 3013636"/>
              <a:gd name="connsiteX4" fmla="*/ 4177553 w 4177553"/>
              <a:gd name="connsiteY4" fmla="*/ 0 h 3013636"/>
              <a:gd name="connsiteX5" fmla="*/ 4177553 w 4177553"/>
              <a:gd name="connsiteY5" fmla="*/ 3013636 h 3013636"/>
              <a:gd name="connsiteX0" fmla="*/ 4183429 w 4183429"/>
              <a:gd name="connsiteY0" fmla="*/ 3013636 h 3013636"/>
              <a:gd name="connsiteX1" fmla="*/ 2749076 w 4183429"/>
              <a:gd name="connsiteY1" fmla="*/ 3013636 h 3013636"/>
              <a:gd name="connsiteX2" fmla="*/ 0 w 4183429"/>
              <a:gd name="connsiteY2" fmla="*/ 319774 h 3013636"/>
              <a:gd name="connsiteX3" fmla="*/ 5876 w 4183429"/>
              <a:gd name="connsiteY3" fmla="*/ 0 h 3013636"/>
              <a:gd name="connsiteX4" fmla="*/ 4183429 w 4183429"/>
              <a:gd name="connsiteY4" fmla="*/ 0 h 3013636"/>
              <a:gd name="connsiteX5" fmla="*/ 4183429 w 4183429"/>
              <a:gd name="connsiteY5" fmla="*/ 3013636 h 3013636"/>
              <a:gd name="connsiteX0" fmla="*/ 4533903 w 4533903"/>
              <a:gd name="connsiteY0" fmla="*/ 3023308 h 3023308"/>
              <a:gd name="connsiteX1" fmla="*/ 3099550 w 4533903"/>
              <a:gd name="connsiteY1" fmla="*/ 3023308 h 3023308"/>
              <a:gd name="connsiteX2" fmla="*/ 0 w 4533903"/>
              <a:gd name="connsiteY2" fmla="*/ 0 h 3023308"/>
              <a:gd name="connsiteX3" fmla="*/ 356350 w 4533903"/>
              <a:gd name="connsiteY3" fmla="*/ 9672 h 3023308"/>
              <a:gd name="connsiteX4" fmla="*/ 4533903 w 4533903"/>
              <a:gd name="connsiteY4" fmla="*/ 9672 h 3023308"/>
              <a:gd name="connsiteX5" fmla="*/ 4533903 w 4533903"/>
              <a:gd name="connsiteY5" fmla="*/ 3023308 h 302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33903" h="3023308">
                <a:moveTo>
                  <a:pt x="4533903" y="3023308"/>
                </a:moveTo>
                <a:lnTo>
                  <a:pt x="3099550" y="3023308"/>
                </a:lnTo>
                <a:lnTo>
                  <a:pt x="0" y="0"/>
                </a:lnTo>
                <a:lnTo>
                  <a:pt x="356350" y="9672"/>
                </a:lnTo>
                <a:lnTo>
                  <a:pt x="4533903" y="9672"/>
                </a:lnTo>
                <a:lnTo>
                  <a:pt x="4533903" y="3023308"/>
                </a:lnTo>
                <a:close/>
              </a:path>
            </a:pathLst>
          </a:cu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三角形 2"/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4" name="三角形 3"/>
          <p:cNvSpPr/>
          <p:nvPr/>
        </p:nvSpPr>
        <p:spPr>
          <a:xfrm>
            <a:off x="0" y="4537416"/>
            <a:ext cx="2743200" cy="236482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/>
          <p:cNvSpPr/>
          <p:nvPr/>
        </p:nvSpPr>
        <p:spPr>
          <a:xfrm rot="5400000">
            <a:off x="6596459" y="3830695"/>
            <a:ext cx="94130" cy="898234"/>
          </a:xfrm>
          <a:prstGeom prst="rect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C968E5-8EB4-43F3-972A-F3821F1F9DB3}"/>
              </a:ext>
            </a:extLst>
          </p:cNvPr>
          <p:cNvSpPr txBox="1"/>
          <p:nvPr/>
        </p:nvSpPr>
        <p:spPr>
          <a:xfrm>
            <a:off x="5656003" y="3151807"/>
            <a:ext cx="54113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Mockup</a:t>
            </a:r>
            <a:endParaRPr lang="en-US" sz="2800" dirty="0">
              <a:solidFill>
                <a:schemeClr val="bg1"/>
              </a:solidFill>
              <a:latin typeface="SVN-Gotham Light" pitchFamily="2" charset="0"/>
              <a:cs typeface="SVN-Gotham Light" pitchFamily="2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D3EB4B3-A99B-44A1-B9AF-EAB213DB47F1}"/>
              </a:ext>
            </a:extLst>
          </p:cNvPr>
          <p:cNvGrpSpPr/>
          <p:nvPr/>
        </p:nvGrpSpPr>
        <p:grpSpPr>
          <a:xfrm>
            <a:off x="7783003" y="1328669"/>
            <a:ext cx="1498155" cy="1118663"/>
            <a:chOff x="7783003" y="1328669"/>
            <a:chExt cx="1498155" cy="1118663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2F78B57-7465-44A8-9891-07E030845F5A}"/>
                </a:ext>
              </a:extLst>
            </p:cNvPr>
            <p:cNvSpPr txBox="1"/>
            <p:nvPr/>
          </p:nvSpPr>
          <p:spPr>
            <a:xfrm>
              <a:off x="7783003" y="1328669"/>
              <a:ext cx="1498155" cy="106215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6000" b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ea typeface="Avenir Book Oblique" charset="0"/>
                  <a:cs typeface="Times New Roman" panose="02020603050405020304" pitchFamily="18" charset="0"/>
                </a:rPr>
                <a:t> </a:t>
              </a:r>
              <a:r>
                <a:rPr lang="en-US" altLang="zh-CN" sz="60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ea typeface="Avenir Book Oblique" charset="0"/>
                  <a:cs typeface="Times New Roman" panose="02020603050405020304" pitchFamily="18" charset="0"/>
                </a:rPr>
                <a:t>VI</a:t>
              </a:r>
              <a:endParaRPr kumimoji="0" lang="zh-CN" altLang="en-US" sz="60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Avenir Book Oblique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AEA34AD-05C2-4EF1-8556-BD4F4070513B}"/>
                </a:ext>
              </a:extLst>
            </p:cNvPr>
            <p:cNvSpPr/>
            <p:nvPr/>
          </p:nvSpPr>
          <p:spPr>
            <a:xfrm>
              <a:off x="7909560" y="1328669"/>
              <a:ext cx="1118663" cy="1118663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71768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4" grpId="0" animBg="1"/>
      <p:bldP spid="9" grpId="0" animBg="1"/>
      <p:bldP spid="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CF8A737C-C38F-40FF-B58F-2D55EEB8BE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8036" y="290044"/>
            <a:ext cx="7894409" cy="637359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6B4A17-3EB8-45E5-B7E6-C873044B552A}"/>
              </a:ext>
            </a:extLst>
          </p:cNvPr>
          <p:cNvSpPr txBox="1"/>
          <p:nvPr/>
        </p:nvSpPr>
        <p:spPr>
          <a:xfrm>
            <a:off x="548640" y="694589"/>
            <a:ext cx="41432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Sơ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đồ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ổ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hức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giao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diện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C7C0C6A-23BD-4545-9C1D-20C55D3CAD2A}"/>
              </a:ext>
            </a:extLst>
          </p:cNvPr>
          <p:cNvCxnSpPr/>
          <p:nvPr/>
        </p:nvCxnSpPr>
        <p:spPr>
          <a:xfrm>
            <a:off x="594360" y="1217214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三角形 20">
            <a:extLst>
              <a:ext uri="{FF2B5EF4-FFF2-40B4-BE49-F238E27FC236}">
                <a16:creationId xmlns:a16="http://schemas.microsoft.com/office/drawing/2014/main" id="{98EF99E6-277A-45E0-9771-EE027A30CF4D}"/>
              </a:ext>
            </a:extLst>
          </p:cNvPr>
          <p:cNvSpPr/>
          <p:nvPr/>
        </p:nvSpPr>
        <p:spPr>
          <a:xfrm rot="6230001">
            <a:off x="-452562" y="604492"/>
            <a:ext cx="1150658" cy="641856"/>
          </a:xfrm>
          <a:prstGeom prst="triangle">
            <a:avLst/>
          </a:prstGeom>
          <a:blipFill dpi="0" rotWithShape="0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117B37B-F06B-4CD6-933C-87EACEE3AEC2}"/>
              </a:ext>
            </a:extLst>
          </p:cNvPr>
          <p:cNvGrpSpPr/>
          <p:nvPr/>
        </p:nvGrpSpPr>
        <p:grpSpPr>
          <a:xfrm>
            <a:off x="779536" y="3687869"/>
            <a:ext cx="2263466" cy="1415444"/>
            <a:chOff x="779536" y="3687869"/>
            <a:chExt cx="2263466" cy="1415444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2B0598C-8E90-44B8-B836-51F0DF2EBD4E}"/>
                </a:ext>
              </a:extLst>
            </p:cNvPr>
            <p:cNvSpPr/>
            <p:nvPr/>
          </p:nvSpPr>
          <p:spPr>
            <a:xfrm flipH="1">
              <a:off x="1028784" y="4481918"/>
              <a:ext cx="62380" cy="165079"/>
            </a:xfrm>
            <a:custGeom>
              <a:avLst/>
              <a:gdLst>
                <a:gd name="connsiteX0" fmla="*/ 4224 w 62380"/>
                <a:gd name="connsiteY0" fmla="*/ 150275 h 165079"/>
                <a:gd name="connsiteX1" fmla="*/ 14127 w 62380"/>
                <a:gd name="connsiteY1" fmla="*/ 108920 h 165079"/>
                <a:gd name="connsiteX2" fmla="*/ 18873 w 62380"/>
                <a:gd name="connsiteY2" fmla="*/ 106558 h 165079"/>
                <a:gd name="connsiteX3" fmla="*/ 14624 w 62380"/>
                <a:gd name="connsiteY3" fmla="*/ -213 h 165079"/>
                <a:gd name="connsiteX4" fmla="*/ 62159 w 62380"/>
                <a:gd name="connsiteY4" fmla="*/ 28487 h 165079"/>
                <a:gd name="connsiteX5" fmla="*/ 58905 w 62380"/>
                <a:gd name="connsiteY5" fmla="*/ 125477 h 165079"/>
                <a:gd name="connsiteX6" fmla="*/ 39248 w 62380"/>
                <a:gd name="connsiteY6" fmla="*/ 163444 h 165079"/>
                <a:gd name="connsiteX7" fmla="*/ 4224 w 62380"/>
                <a:gd name="connsiteY7" fmla="*/ 150275 h 16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380" h="165079">
                  <a:moveTo>
                    <a:pt x="4224" y="150275"/>
                  </a:moveTo>
                  <a:cubicBezTo>
                    <a:pt x="-4463" y="136119"/>
                    <a:pt x="-28" y="117604"/>
                    <a:pt x="14127" y="108920"/>
                  </a:cubicBezTo>
                  <a:cubicBezTo>
                    <a:pt x="15637" y="107993"/>
                    <a:pt x="17225" y="107204"/>
                    <a:pt x="18873" y="106558"/>
                  </a:cubicBezTo>
                  <a:lnTo>
                    <a:pt x="14624" y="-213"/>
                  </a:lnTo>
                  <a:lnTo>
                    <a:pt x="62159" y="28487"/>
                  </a:lnTo>
                  <a:lnTo>
                    <a:pt x="58905" y="125477"/>
                  </a:lnTo>
                  <a:cubicBezTo>
                    <a:pt x="63962" y="141391"/>
                    <a:pt x="55159" y="158390"/>
                    <a:pt x="39248" y="163444"/>
                  </a:cubicBezTo>
                  <a:cubicBezTo>
                    <a:pt x="25933" y="167675"/>
                    <a:pt x="11451" y="162230"/>
                    <a:pt x="4224" y="150275"/>
                  </a:cubicBezTo>
                  <a:close/>
                </a:path>
              </a:pathLst>
            </a:custGeom>
            <a:solidFill>
              <a:srgbClr val="A0616A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43CDC96-D585-4204-854B-C86F87D49D72}"/>
                </a:ext>
              </a:extLst>
            </p:cNvPr>
            <p:cNvSpPr/>
            <p:nvPr/>
          </p:nvSpPr>
          <p:spPr>
            <a:xfrm flipH="1">
              <a:off x="1011938" y="4238317"/>
              <a:ext cx="183101" cy="331794"/>
            </a:xfrm>
            <a:custGeom>
              <a:avLst/>
              <a:gdLst>
                <a:gd name="connsiteX0" fmla="*/ 171542 w 183101"/>
                <a:gd name="connsiteY0" fmla="*/ 324659 h 331794"/>
                <a:gd name="connsiteX1" fmla="*/ 129284 w 183101"/>
                <a:gd name="connsiteY1" fmla="*/ 331411 h 331794"/>
                <a:gd name="connsiteX2" fmla="*/ 113876 w 183101"/>
                <a:gd name="connsiteY2" fmla="*/ 320245 h 331794"/>
                <a:gd name="connsiteX3" fmla="*/ 113822 w 183101"/>
                <a:gd name="connsiteY3" fmla="*/ 319895 h 331794"/>
                <a:gd name="connsiteX4" fmla="*/ 95943 w 183101"/>
                <a:gd name="connsiteY4" fmla="*/ 185249 h 331794"/>
                <a:gd name="connsiteX5" fmla="*/ 7601 w 183101"/>
                <a:gd name="connsiteY5" fmla="*/ 64349 h 331794"/>
                <a:gd name="connsiteX6" fmla="*/ 16434 w 183101"/>
                <a:gd name="connsiteY6" fmla="*/ 7610 h 331794"/>
                <a:gd name="connsiteX7" fmla="*/ 18521 w 183101"/>
                <a:gd name="connsiteY7" fmla="*/ 6181 h 331794"/>
                <a:gd name="connsiteX8" fmla="*/ 18518 w 183101"/>
                <a:gd name="connsiteY8" fmla="*/ 6181 h 331794"/>
                <a:gd name="connsiteX9" fmla="*/ 74596 w 183101"/>
                <a:gd name="connsiteY9" fmla="*/ 18530 h 331794"/>
                <a:gd name="connsiteX10" fmla="*/ 164823 w 183101"/>
                <a:gd name="connsiteY10" fmla="*/ 159722 h 331794"/>
                <a:gd name="connsiteX11" fmla="*/ 182782 w 183101"/>
                <a:gd name="connsiteY11" fmla="*/ 309774 h 331794"/>
                <a:gd name="connsiteX12" fmla="*/ 182821 w 183101"/>
                <a:gd name="connsiteY12" fmla="*/ 312659 h 331794"/>
                <a:gd name="connsiteX13" fmla="*/ 171542 w 183101"/>
                <a:gd name="connsiteY13" fmla="*/ 324659 h 331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101" h="331794">
                  <a:moveTo>
                    <a:pt x="171542" y="324659"/>
                  </a:moveTo>
                  <a:lnTo>
                    <a:pt x="129284" y="331411"/>
                  </a:lnTo>
                  <a:cubicBezTo>
                    <a:pt x="121946" y="332583"/>
                    <a:pt x="115048" y="327583"/>
                    <a:pt x="113876" y="320245"/>
                  </a:cubicBezTo>
                  <a:cubicBezTo>
                    <a:pt x="113855" y="320129"/>
                    <a:pt x="113840" y="320012"/>
                    <a:pt x="113822" y="319895"/>
                  </a:cubicBezTo>
                  <a:lnTo>
                    <a:pt x="95943" y="185249"/>
                  </a:lnTo>
                  <a:lnTo>
                    <a:pt x="7601" y="64349"/>
                  </a:lnTo>
                  <a:cubicBezTo>
                    <a:pt x="-5631" y="46241"/>
                    <a:pt x="-1675" y="20839"/>
                    <a:pt x="16434" y="7610"/>
                  </a:cubicBezTo>
                  <a:cubicBezTo>
                    <a:pt x="17116" y="7111"/>
                    <a:pt x="17812" y="6635"/>
                    <a:pt x="18521" y="6181"/>
                  </a:cubicBezTo>
                  <a:lnTo>
                    <a:pt x="18518" y="6181"/>
                  </a:lnTo>
                  <a:cubicBezTo>
                    <a:pt x="37413" y="-5894"/>
                    <a:pt x="62522" y="-365"/>
                    <a:pt x="74596" y="18530"/>
                  </a:cubicBezTo>
                  <a:lnTo>
                    <a:pt x="164823" y="159722"/>
                  </a:lnTo>
                  <a:lnTo>
                    <a:pt x="182782" y="309774"/>
                  </a:lnTo>
                  <a:cubicBezTo>
                    <a:pt x="182899" y="310730"/>
                    <a:pt x="182911" y="311699"/>
                    <a:pt x="182821" y="312659"/>
                  </a:cubicBezTo>
                  <a:cubicBezTo>
                    <a:pt x="182250" y="318768"/>
                    <a:pt x="177603" y="323711"/>
                    <a:pt x="171542" y="324659"/>
                  </a:cubicBezTo>
                  <a:close/>
                </a:path>
              </a:pathLst>
            </a:custGeom>
            <a:solidFill>
              <a:srgbClr val="6C63FF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8FC6BC2-0ED9-4232-98CC-32E99A7646A7}"/>
                </a:ext>
              </a:extLst>
            </p:cNvPr>
            <p:cNvSpPr/>
            <p:nvPr/>
          </p:nvSpPr>
          <p:spPr>
            <a:xfrm flipH="1">
              <a:off x="1168960" y="4921553"/>
              <a:ext cx="54104" cy="141400"/>
            </a:xfrm>
            <a:custGeom>
              <a:avLst/>
              <a:gdLst>
                <a:gd name="connsiteX0" fmla="*/ 54099 w 54104"/>
                <a:gd name="connsiteY0" fmla="*/ 141401 h 141400"/>
                <a:gd name="connsiteX1" fmla="*/ 17439 w 54104"/>
                <a:gd name="connsiteY1" fmla="*/ 141401 h 141400"/>
                <a:gd name="connsiteX2" fmla="*/ 0 w 54104"/>
                <a:gd name="connsiteY2" fmla="*/ 0 h 141400"/>
                <a:gd name="connsiteX3" fmla="*/ 54105 w 54104"/>
                <a:gd name="connsiteY3" fmla="*/ 3 h 141400"/>
                <a:gd name="connsiteX4" fmla="*/ 54099 w 54104"/>
                <a:gd name="connsiteY4" fmla="*/ 141401 h 141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04" h="141400">
                  <a:moveTo>
                    <a:pt x="54099" y="141401"/>
                  </a:moveTo>
                  <a:lnTo>
                    <a:pt x="17439" y="141401"/>
                  </a:lnTo>
                  <a:lnTo>
                    <a:pt x="0" y="0"/>
                  </a:lnTo>
                  <a:lnTo>
                    <a:pt x="54105" y="3"/>
                  </a:lnTo>
                  <a:lnTo>
                    <a:pt x="54099" y="141401"/>
                  </a:lnTo>
                  <a:close/>
                </a:path>
              </a:pathLst>
            </a:custGeom>
            <a:solidFill>
              <a:srgbClr val="A0616A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A991659-706F-4AB9-8692-FD3148A21E66}"/>
                </a:ext>
              </a:extLst>
            </p:cNvPr>
            <p:cNvSpPr/>
            <p:nvPr/>
          </p:nvSpPr>
          <p:spPr>
            <a:xfrm flipH="1">
              <a:off x="1161110" y="5052479"/>
              <a:ext cx="115215" cy="44515"/>
            </a:xfrm>
            <a:custGeom>
              <a:avLst/>
              <a:gdLst>
                <a:gd name="connsiteX0" fmla="*/ 44515 w 115215"/>
                <a:gd name="connsiteY0" fmla="*/ 0 h 44515"/>
                <a:gd name="connsiteX1" fmla="*/ 115216 w 115215"/>
                <a:gd name="connsiteY1" fmla="*/ 0 h 44515"/>
                <a:gd name="connsiteX2" fmla="*/ 115216 w 115215"/>
                <a:gd name="connsiteY2" fmla="*/ 0 h 44515"/>
                <a:gd name="connsiteX3" fmla="*/ 115216 w 115215"/>
                <a:gd name="connsiteY3" fmla="*/ 44515 h 44515"/>
                <a:gd name="connsiteX4" fmla="*/ 115216 w 115215"/>
                <a:gd name="connsiteY4" fmla="*/ 44515 h 44515"/>
                <a:gd name="connsiteX5" fmla="*/ 0 w 115215"/>
                <a:gd name="connsiteY5" fmla="*/ 44515 h 44515"/>
                <a:gd name="connsiteX6" fmla="*/ 0 w 115215"/>
                <a:gd name="connsiteY6" fmla="*/ 44515 h 44515"/>
                <a:gd name="connsiteX7" fmla="*/ 0 w 115215"/>
                <a:gd name="connsiteY7" fmla="*/ 44515 h 44515"/>
                <a:gd name="connsiteX8" fmla="*/ 44515 w 115215"/>
                <a:gd name="connsiteY8" fmla="*/ 0 h 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215" h="44515">
                  <a:moveTo>
                    <a:pt x="44515" y="0"/>
                  </a:moveTo>
                  <a:lnTo>
                    <a:pt x="115216" y="0"/>
                  </a:lnTo>
                  <a:lnTo>
                    <a:pt x="115216" y="0"/>
                  </a:lnTo>
                  <a:lnTo>
                    <a:pt x="115216" y="44515"/>
                  </a:lnTo>
                  <a:lnTo>
                    <a:pt x="115216" y="44515"/>
                  </a:lnTo>
                  <a:lnTo>
                    <a:pt x="0" y="44515"/>
                  </a:lnTo>
                  <a:lnTo>
                    <a:pt x="0" y="44515"/>
                  </a:lnTo>
                  <a:lnTo>
                    <a:pt x="0" y="44515"/>
                  </a:lnTo>
                  <a:cubicBezTo>
                    <a:pt x="0" y="19930"/>
                    <a:pt x="19930" y="0"/>
                    <a:pt x="44515" y="0"/>
                  </a:cubicBezTo>
                  <a:close/>
                </a:path>
              </a:pathLst>
            </a:custGeom>
            <a:solidFill>
              <a:srgbClr val="2F2E41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EEB2147-DDDE-42EC-A628-D051714DE3ED}"/>
                </a:ext>
              </a:extLst>
            </p:cNvPr>
            <p:cNvSpPr/>
            <p:nvPr/>
          </p:nvSpPr>
          <p:spPr>
            <a:xfrm flipH="1">
              <a:off x="1014297" y="4894558"/>
              <a:ext cx="129490" cy="130014"/>
            </a:xfrm>
            <a:custGeom>
              <a:avLst/>
              <a:gdLst>
                <a:gd name="connsiteX0" fmla="*/ 129491 w 129490"/>
                <a:gd name="connsiteY0" fmla="*/ 105650 h 130014"/>
                <a:gd name="connsiteX1" fmla="*/ 102101 w 129490"/>
                <a:gd name="connsiteY1" fmla="*/ 130014 h 130014"/>
                <a:gd name="connsiteX2" fmla="*/ 0 w 129490"/>
                <a:gd name="connsiteY2" fmla="*/ 29343 h 130014"/>
                <a:gd name="connsiteX3" fmla="*/ 35512 w 129490"/>
                <a:gd name="connsiteY3" fmla="*/ 0 h 130014"/>
                <a:gd name="connsiteX4" fmla="*/ 129491 w 129490"/>
                <a:gd name="connsiteY4" fmla="*/ 105650 h 13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490" h="130014">
                  <a:moveTo>
                    <a:pt x="129491" y="105650"/>
                  </a:moveTo>
                  <a:lnTo>
                    <a:pt x="102101" y="130014"/>
                  </a:lnTo>
                  <a:lnTo>
                    <a:pt x="0" y="29343"/>
                  </a:lnTo>
                  <a:lnTo>
                    <a:pt x="35512" y="0"/>
                  </a:lnTo>
                  <a:lnTo>
                    <a:pt x="129491" y="105650"/>
                  </a:lnTo>
                  <a:close/>
                </a:path>
              </a:pathLst>
            </a:custGeom>
            <a:solidFill>
              <a:srgbClr val="A0616A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BFB7D60-68D7-4A80-B616-1D8D13E86A90}"/>
                </a:ext>
              </a:extLst>
            </p:cNvPr>
            <p:cNvSpPr/>
            <p:nvPr/>
          </p:nvSpPr>
          <p:spPr>
            <a:xfrm rot="2499270" flipH="1">
              <a:off x="986030" y="5019823"/>
              <a:ext cx="115215" cy="44515"/>
            </a:xfrm>
            <a:custGeom>
              <a:avLst/>
              <a:gdLst>
                <a:gd name="connsiteX0" fmla="*/ 44294 w 115215"/>
                <a:gd name="connsiteY0" fmla="*/ -213 h 44515"/>
                <a:gd name="connsiteX1" fmla="*/ 114994 w 115215"/>
                <a:gd name="connsiteY1" fmla="*/ -213 h 44515"/>
                <a:gd name="connsiteX2" fmla="*/ 114994 w 115215"/>
                <a:gd name="connsiteY2" fmla="*/ -213 h 44515"/>
                <a:gd name="connsiteX3" fmla="*/ 114994 w 115215"/>
                <a:gd name="connsiteY3" fmla="*/ 44302 h 44515"/>
                <a:gd name="connsiteX4" fmla="*/ 114994 w 115215"/>
                <a:gd name="connsiteY4" fmla="*/ 44302 h 44515"/>
                <a:gd name="connsiteX5" fmla="*/ -222 w 115215"/>
                <a:gd name="connsiteY5" fmla="*/ 44302 h 44515"/>
                <a:gd name="connsiteX6" fmla="*/ -222 w 115215"/>
                <a:gd name="connsiteY6" fmla="*/ 44302 h 44515"/>
                <a:gd name="connsiteX7" fmla="*/ -222 w 115215"/>
                <a:gd name="connsiteY7" fmla="*/ 44302 h 44515"/>
                <a:gd name="connsiteX8" fmla="*/ 44294 w 115215"/>
                <a:gd name="connsiteY8" fmla="*/ -213 h 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215" h="44515">
                  <a:moveTo>
                    <a:pt x="44294" y="-213"/>
                  </a:moveTo>
                  <a:lnTo>
                    <a:pt x="114994" y="-213"/>
                  </a:lnTo>
                  <a:lnTo>
                    <a:pt x="114994" y="-213"/>
                  </a:lnTo>
                  <a:lnTo>
                    <a:pt x="114994" y="44302"/>
                  </a:lnTo>
                  <a:lnTo>
                    <a:pt x="114994" y="44302"/>
                  </a:lnTo>
                  <a:lnTo>
                    <a:pt x="-222" y="44302"/>
                  </a:lnTo>
                  <a:lnTo>
                    <a:pt x="-222" y="44302"/>
                  </a:lnTo>
                  <a:lnTo>
                    <a:pt x="-222" y="44302"/>
                  </a:lnTo>
                  <a:cubicBezTo>
                    <a:pt x="-222" y="19716"/>
                    <a:pt x="19708" y="-213"/>
                    <a:pt x="44294" y="-213"/>
                  </a:cubicBezTo>
                  <a:close/>
                </a:path>
              </a:pathLst>
            </a:custGeom>
            <a:solidFill>
              <a:srgbClr val="2F2E41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28EB136-DBA6-4712-9ACC-14C70E41FEAB}"/>
                </a:ext>
              </a:extLst>
            </p:cNvPr>
            <p:cNvSpPr/>
            <p:nvPr/>
          </p:nvSpPr>
          <p:spPr>
            <a:xfrm flipH="1">
              <a:off x="1397869" y="4253593"/>
              <a:ext cx="163058" cy="94228"/>
            </a:xfrm>
            <a:custGeom>
              <a:avLst/>
              <a:gdLst>
                <a:gd name="connsiteX0" fmla="*/ 23341 w 163058"/>
                <a:gd name="connsiteY0" fmla="*/ 578 h 94228"/>
                <a:gd name="connsiteX1" fmla="*/ 59448 w 163058"/>
                <a:gd name="connsiteY1" fmla="*/ 23037 h 94228"/>
                <a:gd name="connsiteX2" fmla="*/ 60193 w 163058"/>
                <a:gd name="connsiteY2" fmla="*/ 28288 h 94228"/>
                <a:gd name="connsiteX3" fmla="*/ 162837 w 163058"/>
                <a:gd name="connsiteY3" fmla="*/ 57981 h 94228"/>
                <a:gd name="connsiteX4" fmla="*/ 120592 w 163058"/>
                <a:gd name="connsiteY4" fmla="*/ 94016 h 94228"/>
                <a:gd name="connsiteX5" fmla="*/ 29594 w 163058"/>
                <a:gd name="connsiteY5" fmla="*/ 60292 h 94228"/>
                <a:gd name="connsiteX6" fmla="*/ -219 w 163058"/>
                <a:gd name="connsiteY6" fmla="*/ 29648 h 94228"/>
                <a:gd name="connsiteX7" fmla="*/ 23341 w 163058"/>
                <a:gd name="connsiteY7" fmla="*/ 578 h 94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58" h="94228">
                  <a:moveTo>
                    <a:pt x="23341" y="578"/>
                  </a:moveTo>
                  <a:cubicBezTo>
                    <a:pt x="39515" y="-3190"/>
                    <a:pt x="55680" y="6866"/>
                    <a:pt x="59448" y="23037"/>
                  </a:cubicBezTo>
                  <a:cubicBezTo>
                    <a:pt x="59852" y="24762"/>
                    <a:pt x="60100" y="26518"/>
                    <a:pt x="60193" y="28288"/>
                  </a:cubicBezTo>
                  <a:lnTo>
                    <a:pt x="162837" y="57981"/>
                  </a:lnTo>
                  <a:lnTo>
                    <a:pt x="120592" y="94016"/>
                  </a:lnTo>
                  <a:lnTo>
                    <a:pt x="29594" y="60292"/>
                  </a:lnTo>
                  <a:cubicBezTo>
                    <a:pt x="12900" y="60062"/>
                    <a:pt x="-449" y="46343"/>
                    <a:pt x="-219" y="29648"/>
                  </a:cubicBezTo>
                  <a:cubicBezTo>
                    <a:pt x="-24" y="15678"/>
                    <a:pt x="9715" y="3660"/>
                    <a:pt x="23341" y="578"/>
                  </a:cubicBezTo>
                  <a:close/>
                </a:path>
              </a:pathLst>
            </a:custGeom>
            <a:solidFill>
              <a:srgbClr val="A0616A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2C48479-6860-48B6-80E7-4ACFCFAE92F1}"/>
                </a:ext>
              </a:extLst>
            </p:cNvPr>
            <p:cNvSpPr/>
            <p:nvPr/>
          </p:nvSpPr>
          <p:spPr>
            <a:xfrm flipH="1">
              <a:off x="1143899" y="4005031"/>
              <a:ext cx="146884" cy="146884"/>
            </a:xfrm>
            <a:custGeom>
              <a:avLst/>
              <a:gdLst>
                <a:gd name="connsiteX0" fmla="*/ 146885 w 146884"/>
                <a:gd name="connsiteY0" fmla="*/ 73443 h 146884"/>
                <a:gd name="connsiteX1" fmla="*/ 73442 w 146884"/>
                <a:gd name="connsiteY1" fmla="*/ 146885 h 146884"/>
                <a:gd name="connsiteX2" fmla="*/ 0 w 146884"/>
                <a:gd name="connsiteY2" fmla="*/ 73443 h 146884"/>
                <a:gd name="connsiteX3" fmla="*/ 73442 w 146884"/>
                <a:gd name="connsiteY3" fmla="*/ 0 h 146884"/>
                <a:gd name="connsiteX4" fmla="*/ 146885 w 146884"/>
                <a:gd name="connsiteY4" fmla="*/ 73443 h 14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884" h="146884">
                  <a:moveTo>
                    <a:pt x="146885" y="73443"/>
                  </a:moveTo>
                  <a:cubicBezTo>
                    <a:pt x="146885" y="114004"/>
                    <a:pt x="114004" y="146885"/>
                    <a:pt x="73442" y="146885"/>
                  </a:cubicBezTo>
                  <a:cubicBezTo>
                    <a:pt x="32881" y="146885"/>
                    <a:pt x="0" y="114004"/>
                    <a:pt x="0" y="73443"/>
                  </a:cubicBezTo>
                  <a:cubicBezTo>
                    <a:pt x="0" y="32881"/>
                    <a:pt x="32881" y="0"/>
                    <a:pt x="73442" y="0"/>
                  </a:cubicBezTo>
                  <a:cubicBezTo>
                    <a:pt x="114004" y="0"/>
                    <a:pt x="146885" y="32881"/>
                    <a:pt x="146885" y="73443"/>
                  </a:cubicBezTo>
                  <a:close/>
                </a:path>
              </a:pathLst>
            </a:custGeom>
            <a:solidFill>
              <a:srgbClr val="A0616A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12A806E-4115-4A36-9D05-A61D42A99DDF}"/>
                </a:ext>
              </a:extLst>
            </p:cNvPr>
            <p:cNvSpPr/>
            <p:nvPr/>
          </p:nvSpPr>
          <p:spPr>
            <a:xfrm flipH="1">
              <a:off x="1113475" y="4561240"/>
              <a:ext cx="128639" cy="475281"/>
            </a:xfrm>
            <a:custGeom>
              <a:avLst/>
              <a:gdLst>
                <a:gd name="connsiteX0" fmla="*/ 77428 w 128639"/>
                <a:gd name="connsiteY0" fmla="*/ 475023 h 475281"/>
                <a:gd name="connsiteX1" fmla="*/ 26403 w 128639"/>
                <a:gd name="connsiteY1" fmla="*/ 470941 h 475281"/>
                <a:gd name="connsiteX2" fmla="*/ 14026 w 128639"/>
                <a:gd name="connsiteY2" fmla="*/ 457973 h 475281"/>
                <a:gd name="connsiteX3" fmla="*/ -213 w 128639"/>
                <a:gd name="connsiteY3" fmla="*/ 27882 h 475281"/>
                <a:gd name="connsiteX4" fmla="*/ 11374 w 128639"/>
                <a:gd name="connsiteY4" fmla="*/ 14112 h 475281"/>
                <a:gd name="connsiteX5" fmla="*/ 113101 w 128639"/>
                <a:gd name="connsiteY5" fmla="*/ -82 h 475281"/>
                <a:gd name="connsiteX6" fmla="*/ 128288 w 128639"/>
                <a:gd name="connsiteY6" fmla="*/ 11382 h 475281"/>
                <a:gd name="connsiteX7" fmla="*/ 128225 w 128639"/>
                <a:gd name="connsiteY7" fmla="*/ 15509 h 475281"/>
                <a:gd name="connsiteX8" fmla="*/ 89299 w 128639"/>
                <a:gd name="connsiteY8" fmla="*/ 243509 h 475281"/>
                <a:gd name="connsiteX9" fmla="*/ 89149 w 128639"/>
                <a:gd name="connsiteY9" fmla="*/ 245405 h 475281"/>
                <a:gd name="connsiteX10" fmla="*/ 91954 w 128639"/>
                <a:gd name="connsiteY10" fmla="*/ 461435 h 475281"/>
                <a:gd name="connsiteX11" fmla="*/ 78672 w 128639"/>
                <a:gd name="connsiteY11" fmla="*/ 475068 h 475281"/>
                <a:gd name="connsiteX12" fmla="*/ 78492 w 128639"/>
                <a:gd name="connsiteY12" fmla="*/ 475068 h 475281"/>
                <a:gd name="connsiteX13" fmla="*/ 77428 w 128639"/>
                <a:gd name="connsiteY13" fmla="*/ 475023 h 475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639" h="475281">
                  <a:moveTo>
                    <a:pt x="77428" y="475023"/>
                  </a:moveTo>
                  <a:lnTo>
                    <a:pt x="26403" y="470941"/>
                  </a:lnTo>
                  <a:cubicBezTo>
                    <a:pt x="19579" y="470400"/>
                    <a:pt x="14251" y="464817"/>
                    <a:pt x="14026" y="457973"/>
                  </a:cubicBezTo>
                  <a:lnTo>
                    <a:pt x="-213" y="27882"/>
                  </a:lnTo>
                  <a:cubicBezTo>
                    <a:pt x="-455" y="20999"/>
                    <a:pt x="4550" y="15048"/>
                    <a:pt x="11374" y="14112"/>
                  </a:cubicBezTo>
                  <a:lnTo>
                    <a:pt x="113101" y="-82"/>
                  </a:lnTo>
                  <a:cubicBezTo>
                    <a:pt x="120460" y="-1111"/>
                    <a:pt x="127259" y="4023"/>
                    <a:pt x="128288" y="11382"/>
                  </a:cubicBezTo>
                  <a:cubicBezTo>
                    <a:pt x="128480" y="12752"/>
                    <a:pt x="128459" y="14145"/>
                    <a:pt x="128225" y="15509"/>
                  </a:cubicBezTo>
                  <a:lnTo>
                    <a:pt x="89299" y="243509"/>
                  </a:lnTo>
                  <a:cubicBezTo>
                    <a:pt x="89191" y="244134"/>
                    <a:pt x="89140" y="244771"/>
                    <a:pt x="89149" y="245405"/>
                  </a:cubicBezTo>
                  <a:lnTo>
                    <a:pt x="91954" y="461435"/>
                  </a:lnTo>
                  <a:cubicBezTo>
                    <a:pt x="92053" y="468866"/>
                    <a:pt x="86105" y="474969"/>
                    <a:pt x="78672" y="475068"/>
                  </a:cubicBezTo>
                  <a:cubicBezTo>
                    <a:pt x="78612" y="475068"/>
                    <a:pt x="78552" y="475068"/>
                    <a:pt x="78492" y="475068"/>
                  </a:cubicBezTo>
                  <a:cubicBezTo>
                    <a:pt x="78136" y="475068"/>
                    <a:pt x="77781" y="475053"/>
                    <a:pt x="77428" y="475023"/>
                  </a:cubicBezTo>
                  <a:close/>
                </a:path>
              </a:pathLst>
            </a:custGeom>
            <a:solidFill>
              <a:srgbClr val="2F2E41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EB6C7AD-61C4-4723-979B-802A49CFA880}"/>
                </a:ext>
              </a:extLst>
            </p:cNvPr>
            <p:cNvSpPr/>
            <p:nvPr/>
          </p:nvSpPr>
          <p:spPr>
            <a:xfrm flipH="1">
              <a:off x="1031341" y="4559832"/>
              <a:ext cx="246507" cy="429514"/>
            </a:xfrm>
            <a:custGeom>
              <a:avLst/>
              <a:gdLst>
                <a:gd name="connsiteX0" fmla="*/ 178510 w 246507"/>
                <a:gd name="connsiteY0" fmla="*/ 424849 h 429514"/>
                <a:gd name="connsiteX1" fmla="*/ 3227 w 246507"/>
                <a:gd name="connsiteY1" fmla="*/ 229771 h 429514"/>
                <a:gd name="connsiteX2" fmla="*/ -146 w 246507"/>
                <a:gd name="connsiteY2" fmla="*/ 219353 h 429514"/>
                <a:gd name="connsiteX3" fmla="*/ 21991 w 246507"/>
                <a:gd name="connsiteY3" fmla="*/ 11818 h 429514"/>
                <a:gd name="connsiteX4" fmla="*/ 36266 w 246507"/>
                <a:gd name="connsiteY4" fmla="*/ -182 h 429514"/>
                <a:gd name="connsiteX5" fmla="*/ 143842 w 246507"/>
                <a:gd name="connsiteY5" fmla="*/ 6989 h 429514"/>
                <a:gd name="connsiteX6" fmla="*/ 156373 w 246507"/>
                <a:gd name="connsiteY6" fmla="*/ 21312 h 429514"/>
                <a:gd name="connsiteX7" fmla="*/ 155695 w 246507"/>
                <a:gd name="connsiteY7" fmla="*/ 24723 h 429514"/>
                <a:gd name="connsiteX8" fmla="*/ 91238 w 246507"/>
                <a:gd name="connsiteY8" fmla="*/ 215403 h 429514"/>
                <a:gd name="connsiteX9" fmla="*/ 93624 w 246507"/>
                <a:gd name="connsiteY9" fmla="*/ 226018 h 429514"/>
                <a:gd name="connsiteX10" fmla="*/ 242512 w 246507"/>
                <a:gd name="connsiteY10" fmla="*/ 380325 h 429514"/>
                <a:gd name="connsiteX11" fmla="*/ 242175 w 246507"/>
                <a:gd name="connsiteY11" fmla="*/ 399352 h 429514"/>
                <a:gd name="connsiteX12" fmla="*/ 239675 w 246507"/>
                <a:gd name="connsiteY12" fmla="*/ 401253 h 429514"/>
                <a:gd name="connsiteX13" fmla="*/ 195363 w 246507"/>
                <a:gd name="connsiteY13" fmla="*/ 427439 h 429514"/>
                <a:gd name="connsiteX14" fmla="*/ 178510 w 246507"/>
                <a:gd name="connsiteY14" fmla="*/ 424846 h 429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6507" h="429514">
                  <a:moveTo>
                    <a:pt x="178510" y="424849"/>
                  </a:moveTo>
                  <a:lnTo>
                    <a:pt x="3227" y="229771"/>
                  </a:lnTo>
                  <a:cubicBezTo>
                    <a:pt x="676" y="226933"/>
                    <a:pt x="-550" y="223148"/>
                    <a:pt x="-146" y="219353"/>
                  </a:cubicBezTo>
                  <a:lnTo>
                    <a:pt x="21991" y="11818"/>
                  </a:lnTo>
                  <a:cubicBezTo>
                    <a:pt x="22747" y="4629"/>
                    <a:pt x="29056" y="-672"/>
                    <a:pt x="36266" y="-182"/>
                  </a:cubicBezTo>
                  <a:lnTo>
                    <a:pt x="143842" y="6989"/>
                  </a:lnTo>
                  <a:cubicBezTo>
                    <a:pt x="151257" y="7485"/>
                    <a:pt x="156867" y="13896"/>
                    <a:pt x="156373" y="21312"/>
                  </a:cubicBezTo>
                  <a:cubicBezTo>
                    <a:pt x="156296" y="22472"/>
                    <a:pt x="156066" y="23620"/>
                    <a:pt x="155695" y="24723"/>
                  </a:cubicBezTo>
                  <a:lnTo>
                    <a:pt x="91238" y="215403"/>
                  </a:lnTo>
                  <a:cubicBezTo>
                    <a:pt x="89976" y="219108"/>
                    <a:pt x="90897" y="223207"/>
                    <a:pt x="93624" y="226018"/>
                  </a:cubicBezTo>
                  <a:lnTo>
                    <a:pt x="242512" y="380325"/>
                  </a:lnTo>
                  <a:cubicBezTo>
                    <a:pt x="247674" y="385671"/>
                    <a:pt x="247521" y="394191"/>
                    <a:pt x="242175" y="399352"/>
                  </a:cubicBezTo>
                  <a:cubicBezTo>
                    <a:pt x="241418" y="400081"/>
                    <a:pt x="240581" y="400718"/>
                    <a:pt x="239675" y="401253"/>
                  </a:cubicBezTo>
                  <a:lnTo>
                    <a:pt x="195363" y="427439"/>
                  </a:lnTo>
                  <a:cubicBezTo>
                    <a:pt x="189843" y="430686"/>
                    <a:pt x="182798" y="429604"/>
                    <a:pt x="178510" y="424846"/>
                  </a:cubicBezTo>
                  <a:close/>
                </a:path>
              </a:pathLst>
            </a:custGeom>
            <a:solidFill>
              <a:srgbClr val="2F2E41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15FEC05-72E0-4B69-9CCC-BE13CBFA88F1}"/>
                </a:ext>
              </a:extLst>
            </p:cNvPr>
            <p:cNvSpPr/>
            <p:nvPr/>
          </p:nvSpPr>
          <p:spPr>
            <a:xfrm flipH="1">
              <a:off x="1084825" y="4173150"/>
              <a:ext cx="189656" cy="419681"/>
            </a:xfrm>
            <a:custGeom>
              <a:avLst/>
              <a:gdLst>
                <a:gd name="connsiteX0" fmla="*/ 43756 w 189656"/>
                <a:gd name="connsiteY0" fmla="*/ 23917 h 419681"/>
                <a:gd name="connsiteX1" fmla="*/ 109540 w 189656"/>
                <a:gd name="connsiteY1" fmla="*/ 5976 h 419681"/>
                <a:gd name="connsiteX2" fmla="*/ 164859 w 189656"/>
                <a:gd name="connsiteY2" fmla="*/ 234727 h 419681"/>
                <a:gd name="connsiteX3" fmla="*/ 185791 w 189656"/>
                <a:gd name="connsiteY3" fmla="*/ 402178 h 419681"/>
                <a:gd name="connsiteX4" fmla="*/ 7873 w 189656"/>
                <a:gd name="connsiteY4" fmla="*/ 412644 h 419681"/>
                <a:gd name="connsiteX5" fmla="*/ 43756 w 189656"/>
                <a:gd name="connsiteY5" fmla="*/ 23917 h 419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656" h="419681">
                  <a:moveTo>
                    <a:pt x="43756" y="23917"/>
                  </a:moveTo>
                  <a:cubicBezTo>
                    <a:pt x="43756" y="23917"/>
                    <a:pt x="88609" y="-14956"/>
                    <a:pt x="109540" y="5976"/>
                  </a:cubicBezTo>
                  <a:cubicBezTo>
                    <a:pt x="109540" y="5976"/>
                    <a:pt x="206722" y="67275"/>
                    <a:pt x="164859" y="234727"/>
                  </a:cubicBezTo>
                  <a:cubicBezTo>
                    <a:pt x="164859" y="234727"/>
                    <a:pt x="200742" y="396198"/>
                    <a:pt x="185791" y="402178"/>
                  </a:cubicBezTo>
                  <a:cubicBezTo>
                    <a:pt x="170840" y="408159"/>
                    <a:pt x="19834" y="430585"/>
                    <a:pt x="7873" y="412644"/>
                  </a:cubicBezTo>
                  <a:cubicBezTo>
                    <a:pt x="-4088" y="394703"/>
                    <a:pt x="-10068" y="119604"/>
                    <a:pt x="43756" y="23917"/>
                  </a:cubicBezTo>
                  <a:close/>
                </a:path>
              </a:pathLst>
            </a:custGeom>
            <a:solidFill>
              <a:srgbClr val="6C63FF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7A0E91A-E720-43FD-9EEB-D9CB8AF53722}"/>
                </a:ext>
              </a:extLst>
            </p:cNvPr>
            <p:cNvSpPr/>
            <p:nvPr/>
          </p:nvSpPr>
          <p:spPr>
            <a:xfrm flipH="1">
              <a:off x="1139978" y="4261180"/>
              <a:ext cx="351941" cy="120987"/>
            </a:xfrm>
            <a:custGeom>
              <a:avLst/>
              <a:gdLst>
                <a:gd name="connsiteX0" fmla="*/ -36 w 351941"/>
                <a:gd name="connsiteY0" fmla="*/ 75051 h 120987"/>
                <a:gd name="connsiteX1" fmla="*/ 6907 w 351941"/>
                <a:gd name="connsiteY1" fmla="*/ 32823 h 120987"/>
                <a:gd name="connsiteX2" fmla="*/ 22369 w 351941"/>
                <a:gd name="connsiteY2" fmla="*/ 21730 h 120987"/>
                <a:gd name="connsiteX3" fmla="*/ 22716 w 351941"/>
                <a:gd name="connsiteY3" fmla="*/ 21793 h 120987"/>
                <a:gd name="connsiteX4" fmla="*/ 156118 w 351941"/>
                <a:gd name="connsiteY4" fmla="*/ 47359 h 120987"/>
                <a:gd name="connsiteX5" fmla="*/ 298733 w 351941"/>
                <a:gd name="connsiteY5" fmla="*/ 1728 h 120987"/>
                <a:gd name="connsiteX6" fmla="*/ 349779 w 351941"/>
                <a:gd name="connsiteY6" fmla="*/ 28030 h 120987"/>
                <a:gd name="connsiteX7" fmla="*/ 350473 w 351941"/>
                <a:gd name="connsiteY7" fmla="*/ 30464 h 120987"/>
                <a:gd name="connsiteX8" fmla="*/ 350476 w 351941"/>
                <a:gd name="connsiteY8" fmla="*/ 30461 h 120987"/>
                <a:gd name="connsiteX9" fmla="*/ 321043 w 351941"/>
                <a:gd name="connsiteY9" fmla="*/ 79767 h 120987"/>
                <a:gd name="connsiteX10" fmla="*/ 158579 w 351941"/>
                <a:gd name="connsiteY10" fmla="*/ 120774 h 120987"/>
                <a:gd name="connsiteX11" fmla="*/ 10537 w 351941"/>
                <a:gd name="connsiteY11" fmla="*/ 90418 h 120987"/>
                <a:gd name="connsiteX12" fmla="*/ 7789 w 351941"/>
                <a:gd name="connsiteY12" fmla="*/ 89542 h 120987"/>
                <a:gd name="connsiteX13" fmla="*/ -36 w 351941"/>
                <a:gd name="connsiteY13" fmla="*/ 75051 h 12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1941" h="120987">
                  <a:moveTo>
                    <a:pt x="-36" y="75051"/>
                  </a:moveTo>
                  <a:lnTo>
                    <a:pt x="6907" y="32823"/>
                  </a:lnTo>
                  <a:cubicBezTo>
                    <a:pt x="8112" y="25488"/>
                    <a:pt x="15034" y="20522"/>
                    <a:pt x="22369" y="21730"/>
                  </a:cubicBezTo>
                  <a:cubicBezTo>
                    <a:pt x="22486" y="21748"/>
                    <a:pt x="22600" y="21769"/>
                    <a:pt x="22716" y="21793"/>
                  </a:cubicBezTo>
                  <a:lnTo>
                    <a:pt x="156118" y="47359"/>
                  </a:lnTo>
                  <a:lnTo>
                    <a:pt x="298733" y="1728"/>
                  </a:lnTo>
                  <a:cubicBezTo>
                    <a:pt x="320092" y="-5104"/>
                    <a:pt x="342947" y="6671"/>
                    <a:pt x="349779" y="28030"/>
                  </a:cubicBezTo>
                  <a:cubicBezTo>
                    <a:pt x="350036" y="28835"/>
                    <a:pt x="350267" y="29645"/>
                    <a:pt x="350473" y="30464"/>
                  </a:cubicBezTo>
                  <a:lnTo>
                    <a:pt x="350476" y="30461"/>
                  </a:lnTo>
                  <a:cubicBezTo>
                    <a:pt x="355963" y="52203"/>
                    <a:pt x="342785" y="74280"/>
                    <a:pt x="321043" y="79767"/>
                  </a:cubicBezTo>
                  <a:lnTo>
                    <a:pt x="158579" y="120774"/>
                  </a:lnTo>
                  <a:lnTo>
                    <a:pt x="10537" y="90418"/>
                  </a:lnTo>
                  <a:cubicBezTo>
                    <a:pt x="9592" y="90223"/>
                    <a:pt x="8671" y="89930"/>
                    <a:pt x="7789" y="89542"/>
                  </a:cubicBezTo>
                  <a:cubicBezTo>
                    <a:pt x="2173" y="87069"/>
                    <a:pt x="-1050" y="81103"/>
                    <a:pt x="-36" y="75051"/>
                  </a:cubicBezTo>
                  <a:close/>
                </a:path>
              </a:pathLst>
            </a:custGeom>
            <a:solidFill>
              <a:srgbClr val="6C63FF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82B9C33-50C7-4EEE-8BAE-1A5964D0833F}"/>
                </a:ext>
              </a:extLst>
            </p:cNvPr>
            <p:cNvSpPr/>
            <p:nvPr/>
          </p:nvSpPr>
          <p:spPr>
            <a:xfrm flipH="1">
              <a:off x="1097829" y="3969951"/>
              <a:ext cx="192477" cy="170515"/>
            </a:xfrm>
            <a:custGeom>
              <a:avLst/>
              <a:gdLst>
                <a:gd name="connsiteX0" fmla="*/ 104258 w 192477"/>
                <a:gd name="connsiteY0" fmla="*/ 167883 h 170515"/>
                <a:gd name="connsiteX1" fmla="*/ 103776 w 192477"/>
                <a:gd name="connsiteY1" fmla="*/ 120679 h 170515"/>
                <a:gd name="connsiteX2" fmla="*/ 75773 w 192477"/>
                <a:gd name="connsiteY2" fmla="*/ 113506 h 170515"/>
                <a:gd name="connsiteX3" fmla="*/ 6367 w 192477"/>
                <a:gd name="connsiteY3" fmla="*/ 74442 h 170515"/>
                <a:gd name="connsiteX4" fmla="*/ 25834 w 192477"/>
                <a:gd name="connsiteY4" fmla="*/ 3490 h 170515"/>
                <a:gd name="connsiteX5" fmla="*/ 80540 w 192477"/>
                <a:gd name="connsiteY5" fmla="*/ 6235 h 170515"/>
                <a:gd name="connsiteX6" fmla="*/ 134378 w 192477"/>
                <a:gd name="connsiteY6" fmla="*/ 21503 h 170515"/>
                <a:gd name="connsiteX7" fmla="*/ 178690 w 192477"/>
                <a:gd name="connsiteY7" fmla="*/ 43036 h 170515"/>
                <a:gd name="connsiteX8" fmla="*/ 181097 w 192477"/>
                <a:gd name="connsiteY8" fmla="*/ 116649 h 170515"/>
                <a:gd name="connsiteX9" fmla="*/ 119385 w 192477"/>
                <a:gd name="connsiteY9" fmla="*/ 170302 h 17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477" h="170515">
                  <a:moveTo>
                    <a:pt x="104258" y="167883"/>
                  </a:moveTo>
                  <a:cubicBezTo>
                    <a:pt x="110971" y="152349"/>
                    <a:pt x="116649" y="131662"/>
                    <a:pt x="103776" y="120679"/>
                  </a:cubicBezTo>
                  <a:cubicBezTo>
                    <a:pt x="96310" y="114310"/>
                    <a:pt x="85554" y="114298"/>
                    <a:pt x="75773" y="113506"/>
                  </a:cubicBezTo>
                  <a:cubicBezTo>
                    <a:pt x="48209" y="111272"/>
                    <a:pt x="19838" y="98591"/>
                    <a:pt x="6367" y="74442"/>
                  </a:cubicBezTo>
                  <a:cubicBezTo>
                    <a:pt x="-7103" y="50293"/>
                    <a:pt x="420" y="14386"/>
                    <a:pt x="25834" y="3490"/>
                  </a:cubicBezTo>
                  <a:cubicBezTo>
                    <a:pt x="42964" y="-3854"/>
                    <a:pt x="62607" y="1149"/>
                    <a:pt x="80540" y="6235"/>
                  </a:cubicBezTo>
                  <a:lnTo>
                    <a:pt x="134378" y="21503"/>
                  </a:lnTo>
                  <a:cubicBezTo>
                    <a:pt x="150376" y="26039"/>
                    <a:pt x="167175" y="31042"/>
                    <a:pt x="178690" y="43036"/>
                  </a:cubicBezTo>
                  <a:cubicBezTo>
                    <a:pt x="197059" y="62164"/>
                    <a:pt x="195686" y="94503"/>
                    <a:pt x="181097" y="116649"/>
                  </a:cubicBezTo>
                  <a:cubicBezTo>
                    <a:pt x="166508" y="138797"/>
                    <a:pt x="144539" y="161893"/>
                    <a:pt x="119385" y="170302"/>
                  </a:cubicBezTo>
                  <a:close/>
                </a:path>
              </a:pathLst>
            </a:custGeom>
            <a:solidFill>
              <a:srgbClr val="2F2E41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C0BC422-99A4-4FAF-8A7D-49682F0CF60D}"/>
                </a:ext>
              </a:extLst>
            </p:cNvPr>
            <p:cNvSpPr/>
            <p:nvPr/>
          </p:nvSpPr>
          <p:spPr>
            <a:xfrm flipH="1">
              <a:off x="779536" y="5097333"/>
              <a:ext cx="747551" cy="5980"/>
            </a:xfrm>
            <a:custGeom>
              <a:avLst/>
              <a:gdLst>
                <a:gd name="connsiteX0" fmla="*/ 744340 w 747551"/>
                <a:gd name="connsiteY0" fmla="*/ 5767 h 5980"/>
                <a:gd name="connsiteX1" fmla="*/ 2769 w 747551"/>
                <a:gd name="connsiteY1" fmla="*/ 5767 h 5980"/>
                <a:gd name="connsiteX2" fmla="*/ -222 w 747551"/>
                <a:gd name="connsiteY2" fmla="*/ 2777 h 5980"/>
                <a:gd name="connsiteX3" fmla="*/ 2769 w 747551"/>
                <a:gd name="connsiteY3" fmla="*/ -213 h 5980"/>
                <a:gd name="connsiteX4" fmla="*/ 744340 w 747551"/>
                <a:gd name="connsiteY4" fmla="*/ -213 h 5980"/>
                <a:gd name="connsiteX5" fmla="*/ 747330 w 747551"/>
                <a:gd name="connsiteY5" fmla="*/ 2777 h 5980"/>
                <a:gd name="connsiteX6" fmla="*/ 744340 w 747551"/>
                <a:gd name="connsiteY6" fmla="*/ 5767 h 5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7551" h="5980">
                  <a:moveTo>
                    <a:pt x="744340" y="5767"/>
                  </a:moveTo>
                  <a:lnTo>
                    <a:pt x="2769" y="5767"/>
                  </a:lnTo>
                  <a:cubicBezTo>
                    <a:pt x="1118" y="5767"/>
                    <a:pt x="-222" y="4427"/>
                    <a:pt x="-222" y="2777"/>
                  </a:cubicBezTo>
                  <a:cubicBezTo>
                    <a:pt x="-222" y="1126"/>
                    <a:pt x="1118" y="-213"/>
                    <a:pt x="2769" y="-213"/>
                  </a:cubicBezTo>
                  <a:lnTo>
                    <a:pt x="744340" y="-213"/>
                  </a:lnTo>
                  <a:cubicBezTo>
                    <a:pt x="745991" y="-213"/>
                    <a:pt x="747330" y="1126"/>
                    <a:pt x="747330" y="2777"/>
                  </a:cubicBezTo>
                  <a:cubicBezTo>
                    <a:pt x="747330" y="4427"/>
                    <a:pt x="745991" y="5767"/>
                    <a:pt x="744340" y="5767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6A8CFB1-3876-491C-9689-096E9F977282}"/>
                </a:ext>
              </a:extLst>
            </p:cNvPr>
            <p:cNvSpPr/>
            <p:nvPr/>
          </p:nvSpPr>
          <p:spPr>
            <a:xfrm flipH="1">
              <a:off x="1544909" y="3687869"/>
              <a:ext cx="1498093" cy="1118337"/>
            </a:xfrm>
            <a:custGeom>
              <a:avLst/>
              <a:gdLst>
                <a:gd name="connsiteX0" fmla="*/ 1476941 w 1498093"/>
                <a:gd name="connsiteY0" fmla="*/ -213 h 1118337"/>
                <a:gd name="connsiteX1" fmla="*/ 20710 w 1498093"/>
                <a:gd name="connsiteY1" fmla="*/ -213 h 1118337"/>
                <a:gd name="connsiteX2" fmla="*/ -222 w 1498093"/>
                <a:gd name="connsiteY2" fmla="*/ 20718 h 1118337"/>
                <a:gd name="connsiteX3" fmla="*/ -222 w 1498093"/>
                <a:gd name="connsiteY3" fmla="*/ 1097193 h 1118337"/>
                <a:gd name="connsiteX4" fmla="*/ 20710 w 1498093"/>
                <a:gd name="connsiteY4" fmla="*/ 1118124 h 1118337"/>
                <a:gd name="connsiteX5" fmla="*/ 1476941 w 1498093"/>
                <a:gd name="connsiteY5" fmla="*/ 1118124 h 1118337"/>
                <a:gd name="connsiteX6" fmla="*/ 1497872 w 1498093"/>
                <a:gd name="connsiteY6" fmla="*/ 1097193 h 1118337"/>
                <a:gd name="connsiteX7" fmla="*/ 1497872 w 1498093"/>
                <a:gd name="connsiteY7" fmla="*/ 20718 h 1118337"/>
                <a:gd name="connsiteX8" fmla="*/ 1476941 w 1498093"/>
                <a:gd name="connsiteY8" fmla="*/ -213 h 1118337"/>
                <a:gd name="connsiteX9" fmla="*/ 1491892 w 1498093"/>
                <a:gd name="connsiteY9" fmla="*/ 1097193 h 1118337"/>
                <a:gd name="connsiteX10" fmla="*/ 1476941 w 1498093"/>
                <a:gd name="connsiteY10" fmla="*/ 1112144 h 1118337"/>
                <a:gd name="connsiteX11" fmla="*/ 20710 w 1498093"/>
                <a:gd name="connsiteY11" fmla="*/ 1112144 h 1118337"/>
                <a:gd name="connsiteX12" fmla="*/ 5759 w 1498093"/>
                <a:gd name="connsiteY12" fmla="*/ 1097193 h 1118337"/>
                <a:gd name="connsiteX13" fmla="*/ 5759 w 1498093"/>
                <a:gd name="connsiteY13" fmla="*/ 20718 h 1118337"/>
                <a:gd name="connsiteX14" fmla="*/ 20710 w 1498093"/>
                <a:gd name="connsiteY14" fmla="*/ 5767 h 1118337"/>
                <a:gd name="connsiteX15" fmla="*/ 1476941 w 1498093"/>
                <a:gd name="connsiteY15" fmla="*/ 5767 h 1118337"/>
                <a:gd name="connsiteX16" fmla="*/ 1491892 w 1498093"/>
                <a:gd name="connsiteY16" fmla="*/ 20718 h 111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98093" h="1118337">
                  <a:moveTo>
                    <a:pt x="1476941" y="-213"/>
                  </a:moveTo>
                  <a:lnTo>
                    <a:pt x="20710" y="-213"/>
                  </a:lnTo>
                  <a:cubicBezTo>
                    <a:pt x="9156" y="-201"/>
                    <a:pt x="-210" y="9164"/>
                    <a:pt x="-222" y="20718"/>
                  </a:cubicBezTo>
                  <a:lnTo>
                    <a:pt x="-222" y="1097193"/>
                  </a:lnTo>
                  <a:cubicBezTo>
                    <a:pt x="-210" y="1108747"/>
                    <a:pt x="9156" y="1118112"/>
                    <a:pt x="20710" y="1118124"/>
                  </a:cubicBezTo>
                  <a:lnTo>
                    <a:pt x="1476941" y="1118124"/>
                  </a:lnTo>
                  <a:cubicBezTo>
                    <a:pt x="1488495" y="1118112"/>
                    <a:pt x="1497860" y="1108747"/>
                    <a:pt x="1497872" y="1097193"/>
                  </a:cubicBezTo>
                  <a:lnTo>
                    <a:pt x="1497872" y="20718"/>
                  </a:lnTo>
                  <a:cubicBezTo>
                    <a:pt x="1497860" y="9164"/>
                    <a:pt x="1488495" y="-201"/>
                    <a:pt x="1476941" y="-213"/>
                  </a:cubicBezTo>
                  <a:close/>
                  <a:moveTo>
                    <a:pt x="1491892" y="1097193"/>
                  </a:moveTo>
                  <a:cubicBezTo>
                    <a:pt x="1491889" y="1105449"/>
                    <a:pt x="1485197" y="1112141"/>
                    <a:pt x="1476941" y="1112144"/>
                  </a:cubicBezTo>
                  <a:lnTo>
                    <a:pt x="20710" y="1112144"/>
                  </a:lnTo>
                  <a:cubicBezTo>
                    <a:pt x="12454" y="1112141"/>
                    <a:pt x="5762" y="1105449"/>
                    <a:pt x="5759" y="1097193"/>
                  </a:cubicBezTo>
                  <a:lnTo>
                    <a:pt x="5759" y="20718"/>
                  </a:lnTo>
                  <a:cubicBezTo>
                    <a:pt x="5762" y="12462"/>
                    <a:pt x="12454" y="5770"/>
                    <a:pt x="20710" y="5767"/>
                  </a:cubicBezTo>
                  <a:lnTo>
                    <a:pt x="1476941" y="5767"/>
                  </a:lnTo>
                  <a:cubicBezTo>
                    <a:pt x="1485197" y="5770"/>
                    <a:pt x="1491889" y="12462"/>
                    <a:pt x="1491892" y="20718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360A510-0C22-4690-B837-806CBB21508E}"/>
                </a:ext>
              </a:extLst>
            </p:cNvPr>
            <p:cNvSpPr/>
            <p:nvPr/>
          </p:nvSpPr>
          <p:spPr>
            <a:xfrm flipH="1">
              <a:off x="1547899" y="3771714"/>
              <a:ext cx="1492113" cy="5980"/>
            </a:xfrm>
            <a:custGeom>
              <a:avLst/>
              <a:gdLst>
                <a:gd name="connsiteX0" fmla="*/ 0 w 1492113"/>
                <a:gd name="connsiteY0" fmla="*/ 0 h 5980"/>
                <a:gd name="connsiteX1" fmla="*/ 1492114 w 1492113"/>
                <a:gd name="connsiteY1" fmla="*/ 0 h 5980"/>
                <a:gd name="connsiteX2" fmla="*/ 1492114 w 1492113"/>
                <a:gd name="connsiteY2" fmla="*/ 5980 h 5980"/>
                <a:gd name="connsiteX3" fmla="*/ 0 w 1492113"/>
                <a:gd name="connsiteY3" fmla="*/ 5980 h 5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2113" h="5980">
                  <a:moveTo>
                    <a:pt x="0" y="0"/>
                  </a:moveTo>
                  <a:lnTo>
                    <a:pt x="1492114" y="0"/>
                  </a:lnTo>
                  <a:lnTo>
                    <a:pt x="1492114" y="5980"/>
                  </a:lnTo>
                  <a:lnTo>
                    <a:pt x="0" y="5980"/>
                  </a:ln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8F9F49B-E752-4D3A-B8BF-65EFB55A3BD8}"/>
                </a:ext>
              </a:extLst>
            </p:cNvPr>
            <p:cNvSpPr/>
            <p:nvPr/>
          </p:nvSpPr>
          <p:spPr>
            <a:xfrm flipH="1">
              <a:off x="2971238" y="3714780"/>
              <a:ext cx="35882" cy="35882"/>
            </a:xfrm>
            <a:custGeom>
              <a:avLst/>
              <a:gdLst>
                <a:gd name="connsiteX0" fmla="*/ 35882 w 35882"/>
                <a:gd name="connsiteY0" fmla="*/ 17941 h 35882"/>
                <a:gd name="connsiteX1" fmla="*/ 17941 w 35882"/>
                <a:gd name="connsiteY1" fmla="*/ 35882 h 35882"/>
                <a:gd name="connsiteX2" fmla="*/ 0 w 35882"/>
                <a:gd name="connsiteY2" fmla="*/ 17941 h 35882"/>
                <a:gd name="connsiteX3" fmla="*/ 17941 w 35882"/>
                <a:gd name="connsiteY3" fmla="*/ 0 h 35882"/>
                <a:gd name="connsiteX4" fmla="*/ 35882 w 35882"/>
                <a:gd name="connsiteY4" fmla="*/ 17941 h 35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82" h="35882">
                  <a:moveTo>
                    <a:pt x="35882" y="17941"/>
                  </a:moveTo>
                  <a:cubicBezTo>
                    <a:pt x="35882" y="27850"/>
                    <a:pt x="27850" y="35882"/>
                    <a:pt x="17941" y="35882"/>
                  </a:cubicBezTo>
                  <a:cubicBezTo>
                    <a:pt x="8033" y="35882"/>
                    <a:pt x="0" y="27850"/>
                    <a:pt x="0" y="17941"/>
                  </a:cubicBezTo>
                  <a:cubicBezTo>
                    <a:pt x="0" y="8033"/>
                    <a:pt x="8033" y="0"/>
                    <a:pt x="17941" y="0"/>
                  </a:cubicBezTo>
                  <a:cubicBezTo>
                    <a:pt x="27850" y="0"/>
                    <a:pt x="35882" y="8033"/>
                    <a:pt x="35882" y="17941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AEB1416-5B55-489F-9F10-ECC9B07923C8}"/>
                </a:ext>
              </a:extLst>
            </p:cNvPr>
            <p:cNvSpPr/>
            <p:nvPr/>
          </p:nvSpPr>
          <p:spPr>
            <a:xfrm flipH="1">
              <a:off x="2919657" y="3714780"/>
              <a:ext cx="35882" cy="35882"/>
            </a:xfrm>
            <a:custGeom>
              <a:avLst/>
              <a:gdLst>
                <a:gd name="connsiteX0" fmla="*/ 35882 w 35882"/>
                <a:gd name="connsiteY0" fmla="*/ 17941 h 35882"/>
                <a:gd name="connsiteX1" fmla="*/ 17941 w 35882"/>
                <a:gd name="connsiteY1" fmla="*/ 35882 h 35882"/>
                <a:gd name="connsiteX2" fmla="*/ 0 w 35882"/>
                <a:gd name="connsiteY2" fmla="*/ 17941 h 35882"/>
                <a:gd name="connsiteX3" fmla="*/ 17941 w 35882"/>
                <a:gd name="connsiteY3" fmla="*/ 0 h 35882"/>
                <a:gd name="connsiteX4" fmla="*/ 35882 w 35882"/>
                <a:gd name="connsiteY4" fmla="*/ 17941 h 35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82" h="35882">
                  <a:moveTo>
                    <a:pt x="35882" y="17941"/>
                  </a:moveTo>
                  <a:cubicBezTo>
                    <a:pt x="35882" y="27850"/>
                    <a:pt x="27850" y="35882"/>
                    <a:pt x="17941" y="35882"/>
                  </a:cubicBezTo>
                  <a:cubicBezTo>
                    <a:pt x="8033" y="35882"/>
                    <a:pt x="0" y="27850"/>
                    <a:pt x="0" y="17941"/>
                  </a:cubicBezTo>
                  <a:cubicBezTo>
                    <a:pt x="0" y="8033"/>
                    <a:pt x="8033" y="0"/>
                    <a:pt x="17941" y="0"/>
                  </a:cubicBezTo>
                  <a:cubicBezTo>
                    <a:pt x="27850" y="0"/>
                    <a:pt x="35882" y="8033"/>
                    <a:pt x="35882" y="17941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59E1846-D858-4D72-96C4-8F0C9CC395E6}"/>
                </a:ext>
              </a:extLst>
            </p:cNvPr>
            <p:cNvSpPr/>
            <p:nvPr/>
          </p:nvSpPr>
          <p:spPr>
            <a:xfrm flipH="1">
              <a:off x="2868076" y="3714780"/>
              <a:ext cx="35882" cy="35882"/>
            </a:xfrm>
            <a:custGeom>
              <a:avLst/>
              <a:gdLst>
                <a:gd name="connsiteX0" fmla="*/ 35882 w 35882"/>
                <a:gd name="connsiteY0" fmla="*/ 17941 h 35882"/>
                <a:gd name="connsiteX1" fmla="*/ 17941 w 35882"/>
                <a:gd name="connsiteY1" fmla="*/ 35882 h 35882"/>
                <a:gd name="connsiteX2" fmla="*/ 0 w 35882"/>
                <a:gd name="connsiteY2" fmla="*/ 17941 h 35882"/>
                <a:gd name="connsiteX3" fmla="*/ 17941 w 35882"/>
                <a:gd name="connsiteY3" fmla="*/ 0 h 35882"/>
                <a:gd name="connsiteX4" fmla="*/ 35882 w 35882"/>
                <a:gd name="connsiteY4" fmla="*/ 17941 h 35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82" h="35882">
                  <a:moveTo>
                    <a:pt x="35882" y="17941"/>
                  </a:moveTo>
                  <a:cubicBezTo>
                    <a:pt x="35882" y="27850"/>
                    <a:pt x="27850" y="35882"/>
                    <a:pt x="17941" y="35882"/>
                  </a:cubicBezTo>
                  <a:cubicBezTo>
                    <a:pt x="8033" y="35882"/>
                    <a:pt x="0" y="27850"/>
                    <a:pt x="0" y="17941"/>
                  </a:cubicBezTo>
                  <a:cubicBezTo>
                    <a:pt x="0" y="8033"/>
                    <a:pt x="8033" y="0"/>
                    <a:pt x="17941" y="0"/>
                  </a:cubicBezTo>
                  <a:cubicBezTo>
                    <a:pt x="27850" y="0"/>
                    <a:pt x="35882" y="8033"/>
                    <a:pt x="35882" y="17941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0CCBD6C-8346-41BB-8606-243A2DC4F849}"/>
                </a:ext>
              </a:extLst>
            </p:cNvPr>
            <p:cNvSpPr/>
            <p:nvPr/>
          </p:nvSpPr>
          <p:spPr>
            <a:xfrm flipH="1">
              <a:off x="2137499" y="4490156"/>
              <a:ext cx="5980" cy="128578"/>
            </a:xfrm>
            <a:custGeom>
              <a:avLst/>
              <a:gdLst>
                <a:gd name="connsiteX0" fmla="*/ 2769 w 5980"/>
                <a:gd name="connsiteY0" fmla="*/ 128366 h 128578"/>
                <a:gd name="connsiteX1" fmla="*/ -222 w 5980"/>
                <a:gd name="connsiteY1" fmla="*/ 125375 h 128578"/>
                <a:gd name="connsiteX2" fmla="*/ -222 w 5980"/>
                <a:gd name="connsiteY2" fmla="*/ 2777 h 128578"/>
                <a:gd name="connsiteX3" fmla="*/ 2769 w 5980"/>
                <a:gd name="connsiteY3" fmla="*/ -213 h 128578"/>
                <a:gd name="connsiteX4" fmla="*/ 5759 w 5980"/>
                <a:gd name="connsiteY4" fmla="*/ 2777 h 128578"/>
                <a:gd name="connsiteX5" fmla="*/ 5759 w 5980"/>
                <a:gd name="connsiteY5" fmla="*/ 125375 h 128578"/>
                <a:gd name="connsiteX6" fmla="*/ 2769 w 5980"/>
                <a:gd name="connsiteY6" fmla="*/ 128366 h 12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80" h="128578">
                  <a:moveTo>
                    <a:pt x="2769" y="128366"/>
                  </a:moveTo>
                  <a:cubicBezTo>
                    <a:pt x="1115" y="128366"/>
                    <a:pt x="-222" y="127026"/>
                    <a:pt x="-222" y="125375"/>
                  </a:cubicBezTo>
                  <a:lnTo>
                    <a:pt x="-222" y="2777"/>
                  </a:lnTo>
                  <a:cubicBezTo>
                    <a:pt x="-222" y="1123"/>
                    <a:pt x="1115" y="-213"/>
                    <a:pt x="2769" y="-213"/>
                  </a:cubicBezTo>
                  <a:cubicBezTo>
                    <a:pt x="4419" y="-213"/>
                    <a:pt x="5759" y="1123"/>
                    <a:pt x="5759" y="2777"/>
                  </a:cubicBezTo>
                  <a:lnTo>
                    <a:pt x="5759" y="125375"/>
                  </a:lnTo>
                  <a:cubicBezTo>
                    <a:pt x="5759" y="127026"/>
                    <a:pt x="4419" y="128366"/>
                    <a:pt x="2769" y="128366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D4AC2B4-ADC7-4D7D-9D28-5B4D85B100DE}"/>
                </a:ext>
              </a:extLst>
            </p:cNvPr>
            <p:cNvSpPr/>
            <p:nvPr/>
          </p:nvSpPr>
          <p:spPr>
            <a:xfrm flipH="1">
              <a:off x="2141596" y="4340335"/>
              <a:ext cx="175866" cy="104967"/>
            </a:xfrm>
            <a:custGeom>
              <a:avLst/>
              <a:gdLst>
                <a:gd name="connsiteX0" fmla="*/ 172652 w 175866"/>
                <a:gd name="connsiteY0" fmla="*/ 104754 h 104967"/>
                <a:gd name="connsiteX1" fmla="*/ 171148 w 175866"/>
                <a:gd name="connsiteY1" fmla="*/ 104348 h 104967"/>
                <a:gd name="connsiteX2" fmla="*/ 1259 w 175866"/>
                <a:gd name="connsiteY2" fmla="*/ 5360 h 104967"/>
                <a:gd name="connsiteX3" fmla="*/ 189 w 175866"/>
                <a:gd name="connsiteY3" fmla="*/ 1269 h 104967"/>
                <a:gd name="connsiteX4" fmla="*/ 4270 w 175866"/>
                <a:gd name="connsiteY4" fmla="*/ 190 h 104967"/>
                <a:gd name="connsiteX5" fmla="*/ 174159 w 175866"/>
                <a:gd name="connsiteY5" fmla="*/ 99178 h 104967"/>
                <a:gd name="connsiteX6" fmla="*/ 175238 w 175866"/>
                <a:gd name="connsiteY6" fmla="*/ 103268 h 104967"/>
                <a:gd name="connsiteX7" fmla="*/ 172652 w 175866"/>
                <a:gd name="connsiteY7" fmla="*/ 104754 h 104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66" h="104967">
                  <a:moveTo>
                    <a:pt x="172652" y="104754"/>
                  </a:moveTo>
                  <a:cubicBezTo>
                    <a:pt x="172123" y="104754"/>
                    <a:pt x="171605" y="104614"/>
                    <a:pt x="171148" y="104348"/>
                  </a:cubicBezTo>
                  <a:lnTo>
                    <a:pt x="1259" y="5360"/>
                  </a:lnTo>
                  <a:cubicBezTo>
                    <a:pt x="-167" y="4526"/>
                    <a:pt x="-646" y="2693"/>
                    <a:pt x="189" y="1269"/>
                  </a:cubicBezTo>
                  <a:cubicBezTo>
                    <a:pt x="1020" y="-154"/>
                    <a:pt x="2844" y="-635"/>
                    <a:pt x="4270" y="190"/>
                  </a:cubicBezTo>
                  <a:lnTo>
                    <a:pt x="174159" y="99178"/>
                  </a:lnTo>
                  <a:cubicBezTo>
                    <a:pt x="175585" y="100012"/>
                    <a:pt x="176070" y="101842"/>
                    <a:pt x="175238" y="103268"/>
                  </a:cubicBezTo>
                  <a:cubicBezTo>
                    <a:pt x="174700" y="104189"/>
                    <a:pt x="173716" y="104754"/>
                    <a:pt x="172652" y="104754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EC4CE9D-220E-434D-A125-EC06106B23E7}"/>
                </a:ext>
              </a:extLst>
            </p:cNvPr>
            <p:cNvSpPr/>
            <p:nvPr/>
          </p:nvSpPr>
          <p:spPr>
            <a:xfrm flipH="1">
              <a:off x="2311496" y="4340338"/>
              <a:ext cx="175857" cy="104964"/>
            </a:xfrm>
            <a:custGeom>
              <a:avLst/>
              <a:gdLst>
                <a:gd name="connsiteX0" fmla="*/ 2772 w 175857"/>
                <a:gd name="connsiteY0" fmla="*/ 104751 h 104964"/>
                <a:gd name="connsiteX1" fmla="*/ -222 w 175857"/>
                <a:gd name="connsiteY1" fmla="*/ 101761 h 104964"/>
                <a:gd name="connsiteX2" fmla="*/ 1262 w 175857"/>
                <a:gd name="connsiteY2" fmla="*/ 99175 h 104964"/>
                <a:gd name="connsiteX3" fmla="*/ 171150 w 175857"/>
                <a:gd name="connsiteY3" fmla="*/ 187 h 104964"/>
                <a:gd name="connsiteX4" fmla="*/ 175235 w 175857"/>
                <a:gd name="connsiteY4" fmla="*/ 1284 h 104964"/>
                <a:gd name="connsiteX5" fmla="*/ 174161 w 175857"/>
                <a:gd name="connsiteY5" fmla="*/ 5357 h 104964"/>
                <a:gd name="connsiteX6" fmla="*/ 4273 w 175857"/>
                <a:gd name="connsiteY6" fmla="*/ 104345 h 104964"/>
                <a:gd name="connsiteX7" fmla="*/ 2772 w 175857"/>
                <a:gd name="connsiteY7" fmla="*/ 104751 h 104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57" h="104964">
                  <a:moveTo>
                    <a:pt x="2772" y="104751"/>
                  </a:moveTo>
                  <a:cubicBezTo>
                    <a:pt x="1118" y="104751"/>
                    <a:pt x="-222" y="103415"/>
                    <a:pt x="-222" y="101761"/>
                  </a:cubicBezTo>
                  <a:cubicBezTo>
                    <a:pt x="-224" y="100697"/>
                    <a:pt x="341" y="99713"/>
                    <a:pt x="1262" y="99175"/>
                  </a:cubicBezTo>
                  <a:lnTo>
                    <a:pt x="171150" y="187"/>
                  </a:lnTo>
                  <a:cubicBezTo>
                    <a:pt x="172583" y="-639"/>
                    <a:pt x="174410" y="-145"/>
                    <a:pt x="175235" y="1284"/>
                  </a:cubicBezTo>
                  <a:cubicBezTo>
                    <a:pt x="176057" y="2707"/>
                    <a:pt x="175576" y="4525"/>
                    <a:pt x="174161" y="5357"/>
                  </a:cubicBezTo>
                  <a:lnTo>
                    <a:pt x="4273" y="104345"/>
                  </a:lnTo>
                  <a:cubicBezTo>
                    <a:pt x="3815" y="104611"/>
                    <a:pt x="3298" y="104751"/>
                    <a:pt x="2772" y="104751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766EFF0-CA2A-4695-B74E-EAB2CD90C71C}"/>
                </a:ext>
              </a:extLst>
            </p:cNvPr>
            <p:cNvSpPr/>
            <p:nvPr/>
          </p:nvSpPr>
          <p:spPr>
            <a:xfrm flipH="1">
              <a:off x="1965174" y="4489845"/>
              <a:ext cx="175866" cy="104967"/>
            </a:xfrm>
            <a:custGeom>
              <a:avLst/>
              <a:gdLst>
                <a:gd name="connsiteX0" fmla="*/ 172652 w 175866"/>
                <a:gd name="connsiteY0" fmla="*/ 104754 h 104967"/>
                <a:gd name="connsiteX1" fmla="*/ 171148 w 175866"/>
                <a:gd name="connsiteY1" fmla="*/ 104348 h 104967"/>
                <a:gd name="connsiteX2" fmla="*/ 1259 w 175866"/>
                <a:gd name="connsiteY2" fmla="*/ 5360 h 104967"/>
                <a:gd name="connsiteX3" fmla="*/ 189 w 175866"/>
                <a:gd name="connsiteY3" fmla="*/ 1269 h 104967"/>
                <a:gd name="connsiteX4" fmla="*/ 4270 w 175866"/>
                <a:gd name="connsiteY4" fmla="*/ 190 h 104967"/>
                <a:gd name="connsiteX5" fmla="*/ 174159 w 175866"/>
                <a:gd name="connsiteY5" fmla="*/ 99178 h 104967"/>
                <a:gd name="connsiteX6" fmla="*/ 175238 w 175866"/>
                <a:gd name="connsiteY6" fmla="*/ 103268 h 104967"/>
                <a:gd name="connsiteX7" fmla="*/ 172652 w 175866"/>
                <a:gd name="connsiteY7" fmla="*/ 104754 h 104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66" h="104967">
                  <a:moveTo>
                    <a:pt x="172652" y="104754"/>
                  </a:moveTo>
                  <a:cubicBezTo>
                    <a:pt x="172123" y="104754"/>
                    <a:pt x="171605" y="104614"/>
                    <a:pt x="171148" y="104348"/>
                  </a:cubicBezTo>
                  <a:lnTo>
                    <a:pt x="1259" y="5360"/>
                  </a:lnTo>
                  <a:cubicBezTo>
                    <a:pt x="-167" y="4526"/>
                    <a:pt x="-646" y="2693"/>
                    <a:pt x="189" y="1269"/>
                  </a:cubicBezTo>
                  <a:cubicBezTo>
                    <a:pt x="1020" y="-154"/>
                    <a:pt x="2844" y="-635"/>
                    <a:pt x="4270" y="190"/>
                  </a:cubicBezTo>
                  <a:lnTo>
                    <a:pt x="174159" y="99178"/>
                  </a:lnTo>
                  <a:cubicBezTo>
                    <a:pt x="175585" y="100012"/>
                    <a:pt x="176070" y="101842"/>
                    <a:pt x="175238" y="103268"/>
                  </a:cubicBezTo>
                  <a:cubicBezTo>
                    <a:pt x="174700" y="104189"/>
                    <a:pt x="173716" y="104754"/>
                    <a:pt x="172652" y="104754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CDD8038-9F78-47D3-A3B4-F7812250DA0D}"/>
                </a:ext>
              </a:extLst>
            </p:cNvPr>
            <p:cNvSpPr/>
            <p:nvPr/>
          </p:nvSpPr>
          <p:spPr>
            <a:xfrm flipH="1">
              <a:off x="2135074" y="4489849"/>
              <a:ext cx="175857" cy="104964"/>
            </a:xfrm>
            <a:custGeom>
              <a:avLst/>
              <a:gdLst>
                <a:gd name="connsiteX0" fmla="*/ 2772 w 175857"/>
                <a:gd name="connsiteY0" fmla="*/ 104751 h 104964"/>
                <a:gd name="connsiteX1" fmla="*/ -222 w 175857"/>
                <a:gd name="connsiteY1" fmla="*/ 101764 h 104964"/>
                <a:gd name="connsiteX2" fmla="*/ 1262 w 175857"/>
                <a:gd name="connsiteY2" fmla="*/ 99177 h 104964"/>
                <a:gd name="connsiteX3" fmla="*/ 171150 w 175857"/>
                <a:gd name="connsiteY3" fmla="*/ 187 h 104964"/>
                <a:gd name="connsiteX4" fmla="*/ 175235 w 175857"/>
                <a:gd name="connsiteY4" fmla="*/ 1284 h 104964"/>
                <a:gd name="connsiteX5" fmla="*/ 174161 w 175857"/>
                <a:gd name="connsiteY5" fmla="*/ 5357 h 104964"/>
                <a:gd name="connsiteX6" fmla="*/ 4273 w 175857"/>
                <a:gd name="connsiteY6" fmla="*/ 104345 h 104964"/>
                <a:gd name="connsiteX7" fmla="*/ 2772 w 175857"/>
                <a:gd name="connsiteY7" fmla="*/ 104751 h 104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57" h="104964">
                  <a:moveTo>
                    <a:pt x="2772" y="104751"/>
                  </a:moveTo>
                  <a:cubicBezTo>
                    <a:pt x="1118" y="104751"/>
                    <a:pt x="-222" y="103415"/>
                    <a:pt x="-222" y="101764"/>
                  </a:cubicBezTo>
                  <a:cubicBezTo>
                    <a:pt x="-224" y="100696"/>
                    <a:pt x="341" y="99713"/>
                    <a:pt x="1262" y="99177"/>
                  </a:cubicBezTo>
                  <a:lnTo>
                    <a:pt x="171150" y="187"/>
                  </a:lnTo>
                  <a:cubicBezTo>
                    <a:pt x="172583" y="-639"/>
                    <a:pt x="174410" y="-145"/>
                    <a:pt x="175235" y="1284"/>
                  </a:cubicBezTo>
                  <a:cubicBezTo>
                    <a:pt x="176057" y="2707"/>
                    <a:pt x="175576" y="4525"/>
                    <a:pt x="174161" y="5357"/>
                  </a:cubicBezTo>
                  <a:lnTo>
                    <a:pt x="4273" y="104345"/>
                  </a:lnTo>
                  <a:cubicBezTo>
                    <a:pt x="3815" y="104611"/>
                    <a:pt x="3298" y="104751"/>
                    <a:pt x="2772" y="104751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4EED10D-46BF-407D-9F8B-B995C55EE01B}"/>
                </a:ext>
              </a:extLst>
            </p:cNvPr>
            <p:cNvSpPr/>
            <p:nvPr/>
          </p:nvSpPr>
          <p:spPr>
            <a:xfrm flipH="1">
              <a:off x="2310931" y="4178017"/>
              <a:ext cx="6258" cy="114785"/>
            </a:xfrm>
            <a:custGeom>
              <a:avLst/>
              <a:gdLst>
                <a:gd name="connsiteX0" fmla="*/ 3047 w 6258"/>
                <a:gd name="connsiteY0" fmla="*/ 114572 h 114785"/>
                <a:gd name="connsiteX1" fmla="*/ 57 w 6258"/>
                <a:gd name="connsiteY1" fmla="*/ 111588 h 114785"/>
                <a:gd name="connsiteX2" fmla="*/ -222 w 6258"/>
                <a:gd name="connsiteY2" fmla="*/ 2783 h 114785"/>
                <a:gd name="connsiteX3" fmla="*/ 2760 w 6258"/>
                <a:gd name="connsiteY3" fmla="*/ -213 h 114785"/>
                <a:gd name="connsiteX4" fmla="*/ 2763 w 6258"/>
                <a:gd name="connsiteY4" fmla="*/ -213 h 114785"/>
                <a:gd name="connsiteX5" fmla="*/ 2769 w 6258"/>
                <a:gd name="connsiteY5" fmla="*/ -213 h 114785"/>
                <a:gd name="connsiteX6" fmla="*/ 5759 w 6258"/>
                <a:gd name="connsiteY6" fmla="*/ 2768 h 114785"/>
                <a:gd name="connsiteX7" fmla="*/ 6037 w 6258"/>
                <a:gd name="connsiteY7" fmla="*/ 111573 h 114785"/>
                <a:gd name="connsiteX8" fmla="*/ 3053 w 6258"/>
                <a:gd name="connsiteY8" fmla="*/ 114572 h 114785"/>
                <a:gd name="connsiteX9" fmla="*/ 3053 w 6258"/>
                <a:gd name="connsiteY9" fmla="*/ 114572 h 114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58" h="114785">
                  <a:moveTo>
                    <a:pt x="3047" y="114572"/>
                  </a:moveTo>
                  <a:cubicBezTo>
                    <a:pt x="1396" y="114572"/>
                    <a:pt x="60" y="113238"/>
                    <a:pt x="57" y="111588"/>
                  </a:cubicBezTo>
                  <a:lnTo>
                    <a:pt x="-222" y="2783"/>
                  </a:lnTo>
                  <a:cubicBezTo>
                    <a:pt x="-225" y="1132"/>
                    <a:pt x="1109" y="-210"/>
                    <a:pt x="2760" y="-213"/>
                  </a:cubicBezTo>
                  <a:cubicBezTo>
                    <a:pt x="2763" y="-213"/>
                    <a:pt x="2763" y="-213"/>
                    <a:pt x="2763" y="-213"/>
                  </a:cubicBezTo>
                  <a:lnTo>
                    <a:pt x="2769" y="-213"/>
                  </a:lnTo>
                  <a:cubicBezTo>
                    <a:pt x="4419" y="-216"/>
                    <a:pt x="5756" y="1120"/>
                    <a:pt x="5759" y="2768"/>
                  </a:cubicBezTo>
                  <a:lnTo>
                    <a:pt x="6037" y="111573"/>
                  </a:lnTo>
                  <a:cubicBezTo>
                    <a:pt x="6040" y="113226"/>
                    <a:pt x="4706" y="114566"/>
                    <a:pt x="3053" y="114572"/>
                  </a:cubicBezTo>
                  <a:cubicBezTo>
                    <a:pt x="3053" y="114572"/>
                    <a:pt x="3053" y="114572"/>
                    <a:pt x="3053" y="114572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9123382-92F2-45DB-ACFE-8C26EC58FA69}"/>
                </a:ext>
              </a:extLst>
            </p:cNvPr>
            <p:cNvSpPr/>
            <p:nvPr/>
          </p:nvSpPr>
          <p:spPr>
            <a:xfrm flipH="1">
              <a:off x="2261794" y="4282438"/>
              <a:ext cx="104812" cy="66926"/>
            </a:xfrm>
            <a:custGeom>
              <a:avLst/>
              <a:gdLst>
                <a:gd name="connsiteX0" fmla="*/ 91135 w 104812"/>
                <a:gd name="connsiteY0" fmla="*/ 66713 h 66926"/>
                <a:gd name="connsiteX1" fmla="*/ 13234 w 104812"/>
                <a:gd name="connsiteY1" fmla="*/ 66713 h 66926"/>
                <a:gd name="connsiteX2" fmla="*/ -222 w 104812"/>
                <a:gd name="connsiteY2" fmla="*/ 53258 h 66926"/>
                <a:gd name="connsiteX3" fmla="*/ -222 w 104812"/>
                <a:gd name="connsiteY3" fmla="*/ 13243 h 66926"/>
                <a:gd name="connsiteX4" fmla="*/ 13234 w 104812"/>
                <a:gd name="connsiteY4" fmla="*/ -213 h 66926"/>
                <a:gd name="connsiteX5" fmla="*/ 91135 w 104812"/>
                <a:gd name="connsiteY5" fmla="*/ -213 h 66926"/>
                <a:gd name="connsiteX6" fmla="*/ 104591 w 104812"/>
                <a:gd name="connsiteY6" fmla="*/ 13243 h 66926"/>
                <a:gd name="connsiteX7" fmla="*/ 104591 w 104812"/>
                <a:gd name="connsiteY7" fmla="*/ 53258 h 66926"/>
                <a:gd name="connsiteX8" fmla="*/ 91135 w 104812"/>
                <a:gd name="connsiteY8" fmla="*/ 66713 h 6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812" h="66926">
                  <a:moveTo>
                    <a:pt x="91135" y="66713"/>
                  </a:moveTo>
                  <a:lnTo>
                    <a:pt x="13234" y="66713"/>
                  </a:lnTo>
                  <a:cubicBezTo>
                    <a:pt x="5807" y="66705"/>
                    <a:pt x="-213" y="60685"/>
                    <a:pt x="-222" y="53258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91135" y="-213"/>
                  </a:lnTo>
                  <a:cubicBezTo>
                    <a:pt x="98563" y="-204"/>
                    <a:pt x="104582" y="5815"/>
                    <a:pt x="104591" y="13243"/>
                  </a:cubicBezTo>
                  <a:lnTo>
                    <a:pt x="104591" y="53258"/>
                  </a:lnTo>
                  <a:cubicBezTo>
                    <a:pt x="104582" y="60685"/>
                    <a:pt x="98563" y="66705"/>
                    <a:pt x="91135" y="66713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19045B8-A3DF-403C-A23B-9B25191E0CB8}"/>
                </a:ext>
              </a:extLst>
            </p:cNvPr>
            <p:cNvSpPr/>
            <p:nvPr/>
          </p:nvSpPr>
          <p:spPr>
            <a:xfrm flipH="1">
              <a:off x="2401191" y="4139991"/>
              <a:ext cx="171739" cy="5980"/>
            </a:xfrm>
            <a:custGeom>
              <a:avLst/>
              <a:gdLst>
                <a:gd name="connsiteX0" fmla="*/ 168528 w 171739"/>
                <a:gd name="connsiteY0" fmla="*/ 5767 h 5980"/>
                <a:gd name="connsiteX1" fmla="*/ 2769 w 171739"/>
                <a:gd name="connsiteY1" fmla="*/ 5767 h 5980"/>
                <a:gd name="connsiteX2" fmla="*/ -222 w 171739"/>
                <a:gd name="connsiteY2" fmla="*/ 2777 h 5980"/>
                <a:gd name="connsiteX3" fmla="*/ 2769 w 171739"/>
                <a:gd name="connsiteY3" fmla="*/ -213 h 5980"/>
                <a:gd name="connsiteX4" fmla="*/ 168528 w 171739"/>
                <a:gd name="connsiteY4" fmla="*/ -213 h 5980"/>
                <a:gd name="connsiteX5" fmla="*/ 171518 w 171739"/>
                <a:gd name="connsiteY5" fmla="*/ 2777 h 5980"/>
                <a:gd name="connsiteX6" fmla="*/ 168528 w 171739"/>
                <a:gd name="connsiteY6" fmla="*/ 5767 h 5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739" h="5980">
                  <a:moveTo>
                    <a:pt x="168528" y="5767"/>
                  </a:moveTo>
                  <a:lnTo>
                    <a:pt x="2769" y="5767"/>
                  </a:lnTo>
                  <a:cubicBezTo>
                    <a:pt x="1118" y="5767"/>
                    <a:pt x="-222" y="4427"/>
                    <a:pt x="-222" y="2777"/>
                  </a:cubicBezTo>
                  <a:cubicBezTo>
                    <a:pt x="-222" y="1123"/>
                    <a:pt x="1118" y="-213"/>
                    <a:pt x="2769" y="-213"/>
                  </a:cubicBezTo>
                  <a:lnTo>
                    <a:pt x="168528" y="-213"/>
                  </a:lnTo>
                  <a:cubicBezTo>
                    <a:pt x="170178" y="-213"/>
                    <a:pt x="171518" y="1123"/>
                    <a:pt x="171518" y="2777"/>
                  </a:cubicBezTo>
                  <a:cubicBezTo>
                    <a:pt x="171518" y="4427"/>
                    <a:pt x="170178" y="5767"/>
                    <a:pt x="168528" y="5767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7655F22-8891-4197-9AA3-6A64BFFFFA42}"/>
                </a:ext>
              </a:extLst>
            </p:cNvPr>
            <p:cNvSpPr/>
            <p:nvPr/>
          </p:nvSpPr>
          <p:spPr>
            <a:xfrm flipH="1">
              <a:off x="2311209" y="3993782"/>
              <a:ext cx="5980" cy="109480"/>
            </a:xfrm>
            <a:custGeom>
              <a:avLst/>
              <a:gdLst>
                <a:gd name="connsiteX0" fmla="*/ 2769 w 5980"/>
                <a:gd name="connsiteY0" fmla="*/ 109267 h 109480"/>
                <a:gd name="connsiteX1" fmla="*/ -222 w 5980"/>
                <a:gd name="connsiteY1" fmla="*/ 106277 h 109480"/>
                <a:gd name="connsiteX2" fmla="*/ -222 w 5980"/>
                <a:gd name="connsiteY2" fmla="*/ 2777 h 109480"/>
                <a:gd name="connsiteX3" fmla="*/ 2769 w 5980"/>
                <a:gd name="connsiteY3" fmla="*/ -213 h 109480"/>
                <a:gd name="connsiteX4" fmla="*/ 5759 w 5980"/>
                <a:gd name="connsiteY4" fmla="*/ 2777 h 109480"/>
                <a:gd name="connsiteX5" fmla="*/ 5759 w 5980"/>
                <a:gd name="connsiteY5" fmla="*/ 106277 h 109480"/>
                <a:gd name="connsiteX6" fmla="*/ 2769 w 5980"/>
                <a:gd name="connsiteY6" fmla="*/ 109267 h 109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80" h="109480">
                  <a:moveTo>
                    <a:pt x="2769" y="109267"/>
                  </a:moveTo>
                  <a:cubicBezTo>
                    <a:pt x="1118" y="109264"/>
                    <a:pt x="-222" y="107928"/>
                    <a:pt x="-222" y="106277"/>
                  </a:cubicBezTo>
                  <a:lnTo>
                    <a:pt x="-222" y="2777"/>
                  </a:lnTo>
                  <a:cubicBezTo>
                    <a:pt x="-222" y="1123"/>
                    <a:pt x="1118" y="-213"/>
                    <a:pt x="2769" y="-213"/>
                  </a:cubicBezTo>
                  <a:cubicBezTo>
                    <a:pt x="4419" y="-213"/>
                    <a:pt x="5759" y="1123"/>
                    <a:pt x="5759" y="2777"/>
                  </a:cubicBezTo>
                  <a:lnTo>
                    <a:pt x="5759" y="106277"/>
                  </a:lnTo>
                  <a:cubicBezTo>
                    <a:pt x="5759" y="107928"/>
                    <a:pt x="4419" y="109264"/>
                    <a:pt x="2769" y="109267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514BD87-8B05-47DF-AB9B-452CBD524BE2}"/>
                </a:ext>
              </a:extLst>
            </p:cNvPr>
            <p:cNvSpPr/>
            <p:nvPr/>
          </p:nvSpPr>
          <p:spPr>
            <a:xfrm flipH="1">
              <a:off x="2631436" y="4044617"/>
              <a:ext cx="166894" cy="101354"/>
            </a:xfrm>
            <a:custGeom>
              <a:avLst/>
              <a:gdLst>
                <a:gd name="connsiteX0" fmla="*/ 163679 w 166894"/>
                <a:gd name="connsiteY0" fmla="*/ 101141 h 101354"/>
                <a:gd name="connsiteX1" fmla="*/ 162157 w 166894"/>
                <a:gd name="connsiteY1" fmla="*/ 100722 h 101354"/>
                <a:gd name="connsiteX2" fmla="*/ 1239 w 166894"/>
                <a:gd name="connsiteY2" fmla="*/ 5347 h 101354"/>
                <a:gd name="connsiteX3" fmla="*/ 201 w 166894"/>
                <a:gd name="connsiteY3" fmla="*/ 1247 h 101354"/>
                <a:gd name="connsiteX4" fmla="*/ 4289 w 166894"/>
                <a:gd name="connsiteY4" fmla="*/ 201 h 101354"/>
                <a:gd name="connsiteX5" fmla="*/ 165207 w 166894"/>
                <a:gd name="connsiteY5" fmla="*/ 95576 h 101354"/>
                <a:gd name="connsiteX6" fmla="*/ 166254 w 166894"/>
                <a:gd name="connsiteY6" fmla="*/ 99676 h 101354"/>
                <a:gd name="connsiteX7" fmla="*/ 163679 w 166894"/>
                <a:gd name="connsiteY7" fmla="*/ 101141 h 101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894" h="101354">
                  <a:moveTo>
                    <a:pt x="163679" y="101141"/>
                  </a:moveTo>
                  <a:cubicBezTo>
                    <a:pt x="163144" y="101141"/>
                    <a:pt x="162617" y="100997"/>
                    <a:pt x="162157" y="100722"/>
                  </a:cubicBezTo>
                  <a:lnTo>
                    <a:pt x="1239" y="5347"/>
                  </a:lnTo>
                  <a:cubicBezTo>
                    <a:pt x="-181" y="4500"/>
                    <a:pt x="-645" y="2664"/>
                    <a:pt x="201" y="1247"/>
                  </a:cubicBezTo>
                  <a:cubicBezTo>
                    <a:pt x="1045" y="-167"/>
                    <a:pt x="2869" y="-634"/>
                    <a:pt x="4289" y="201"/>
                  </a:cubicBezTo>
                  <a:lnTo>
                    <a:pt x="165207" y="95576"/>
                  </a:lnTo>
                  <a:cubicBezTo>
                    <a:pt x="166627" y="96419"/>
                    <a:pt x="167097" y="98255"/>
                    <a:pt x="166254" y="99676"/>
                  </a:cubicBezTo>
                  <a:cubicBezTo>
                    <a:pt x="165715" y="100585"/>
                    <a:pt x="164735" y="101141"/>
                    <a:pt x="163679" y="101141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74A15A8-DCD0-4674-8BB9-7ED630165CE6}"/>
                </a:ext>
              </a:extLst>
            </p:cNvPr>
            <p:cNvSpPr/>
            <p:nvPr/>
          </p:nvSpPr>
          <p:spPr>
            <a:xfrm flipH="1">
              <a:off x="2631437" y="4139989"/>
              <a:ext cx="166898" cy="101357"/>
            </a:xfrm>
            <a:custGeom>
              <a:avLst/>
              <a:gdLst>
                <a:gd name="connsiteX0" fmla="*/ 2772 w 166898"/>
                <a:gd name="connsiteY0" fmla="*/ 101144 h 101357"/>
                <a:gd name="connsiteX1" fmla="*/ -222 w 166898"/>
                <a:gd name="connsiteY1" fmla="*/ 98154 h 101357"/>
                <a:gd name="connsiteX2" fmla="*/ 1244 w 166898"/>
                <a:gd name="connsiteY2" fmla="*/ 95579 h 101357"/>
                <a:gd name="connsiteX3" fmla="*/ 162162 w 166898"/>
                <a:gd name="connsiteY3" fmla="*/ 204 h 101357"/>
                <a:gd name="connsiteX4" fmla="*/ 166258 w 166898"/>
                <a:gd name="connsiteY4" fmla="*/ 1253 h 101357"/>
                <a:gd name="connsiteX5" fmla="*/ 165212 w 166898"/>
                <a:gd name="connsiteY5" fmla="*/ 5350 h 101357"/>
                <a:gd name="connsiteX6" fmla="*/ 4294 w 166898"/>
                <a:gd name="connsiteY6" fmla="*/ 100725 h 101357"/>
                <a:gd name="connsiteX7" fmla="*/ 2772 w 166898"/>
                <a:gd name="connsiteY7" fmla="*/ 101144 h 10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898" h="101357">
                  <a:moveTo>
                    <a:pt x="2772" y="101144"/>
                  </a:moveTo>
                  <a:cubicBezTo>
                    <a:pt x="1118" y="101144"/>
                    <a:pt x="-222" y="99807"/>
                    <a:pt x="-222" y="98154"/>
                  </a:cubicBezTo>
                  <a:cubicBezTo>
                    <a:pt x="-224" y="97098"/>
                    <a:pt x="335" y="96121"/>
                    <a:pt x="1244" y="95579"/>
                  </a:cubicBezTo>
                  <a:lnTo>
                    <a:pt x="162162" y="204"/>
                  </a:lnTo>
                  <a:cubicBezTo>
                    <a:pt x="163582" y="-637"/>
                    <a:pt x="165415" y="-167"/>
                    <a:pt x="166258" y="1253"/>
                  </a:cubicBezTo>
                  <a:cubicBezTo>
                    <a:pt x="167102" y="2674"/>
                    <a:pt x="166632" y="4507"/>
                    <a:pt x="165212" y="5350"/>
                  </a:cubicBezTo>
                  <a:lnTo>
                    <a:pt x="4294" y="100725"/>
                  </a:lnTo>
                  <a:cubicBezTo>
                    <a:pt x="3833" y="101001"/>
                    <a:pt x="3307" y="101144"/>
                    <a:pt x="2772" y="101144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94F235E-F5F2-463C-BB53-EB53375D7367}"/>
                </a:ext>
              </a:extLst>
            </p:cNvPr>
            <p:cNvSpPr/>
            <p:nvPr/>
          </p:nvSpPr>
          <p:spPr>
            <a:xfrm flipH="1">
              <a:off x="2568445" y="4089391"/>
              <a:ext cx="66923" cy="104812"/>
            </a:xfrm>
            <a:custGeom>
              <a:avLst/>
              <a:gdLst>
                <a:gd name="connsiteX0" fmla="*/ 53246 w 66923"/>
                <a:gd name="connsiteY0" fmla="*/ 104599 h 104812"/>
                <a:gd name="connsiteX1" fmla="*/ 13234 w 66923"/>
                <a:gd name="connsiteY1" fmla="*/ 104599 h 104812"/>
                <a:gd name="connsiteX2" fmla="*/ -222 w 66923"/>
                <a:gd name="connsiteY2" fmla="*/ 91143 h 104812"/>
                <a:gd name="connsiteX3" fmla="*/ -222 w 66923"/>
                <a:gd name="connsiteY3" fmla="*/ 13243 h 104812"/>
                <a:gd name="connsiteX4" fmla="*/ 13234 w 66923"/>
                <a:gd name="connsiteY4" fmla="*/ -213 h 104812"/>
                <a:gd name="connsiteX5" fmla="*/ 53246 w 66923"/>
                <a:gd name="connsiteY5" fmla="*/ -213 h 104812"/>
                <a:gd name="connsiteX6" fmla="*/ 66702 w 66923"/>
                <a:gd name="connsiteY6" fmla="*/ 13243 h 104812"/>
                <a:gd name="connsiteX7" fmla="*/ 66702 w 66923"/>
                <a:gd name="connsiteY7" fmla="*/ 91143 h 104812"/>
                <a:gd name="connsiteX8" fmla="*/ 53246 w 66923"/>
                <a:gd name="connsiteY8" fmla="*/ 104599 h 1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923" h="104812">
                  <a:moveTo>
                    <a:pt x="53246" y="104599"/>
                  </a:moveTo>
                  <a:lnTo>
                    <a:pt x="13234" y="104599"/>
                  </a:lnTo>
                  <a:cubicBezTo>
                    <a:pt x="5807" y="104590"/>
                    <a:pt x="-215" y="98571"/>
                    <a:pt x="-222" y="91143"/>
                  </a:cubicBezTo>
                  <a:lnTo>
                    <a:pt x="-222" y="13243"/>
                  </a:lnTo>
                  <a:cubicBezTo>
                    <a:pt x="-215" y="5815"/>
                    <a:pt x="5807" y="-204"/>
                    <a:pt x="13234" y="-213"/>
                  </a:cubicBezTo>
                  <a:lnTo>
                    <a:pt x="53246" y="-213"/>
                  </a:lnTo>
                  <a:cubicBezTo>
                    <a:pt x="60674" y="-204"/>
                    <a:pt x="66693" y="5815"/>
                    <a:pt x="66702" y="13243"/>
                  </a:cubicBezTo>
                  <a:lnTo>
                    <a:pt x="66702" y="91143"/>
                  </a:lnTo>
                  <a:cubicBezTo>
                    <a:pt x="66693" y="98571"/>
                    <a:pt x="60674" y="104590"/>
                    <a:pt x="53246" y="104599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4C35E4F-2926-45FB-84C1-1CA3D18454CC}"/>
                </a:ext>
              </a:extLst>
            </p:cNvPr>
            <p:cNvSpPr/>
            <p:nvPr/>
          </p:nvSpPr>
          <p:spPr>
            <a:xfrm flipH="1">
              <a:off x="2261794" y="3937892"/>
              <a:ext cx="104812" cy="66926"/>
            </a:xfrm>
            <a:custGeom>
              <a:avLst/>
              <a:gdLst>
                <a:gd name="connsiteX0" fmla="*/ 91135 w 104812"/>
                <a:gd name="connsiteY0" fmla="*/ 66714 h 66926"/>
                <a:gd name="connsiteX1" fmla="*/ 13234 w 104812"/>
                <a:gd name="connsiteY1" fmla="*/ 66714 h 66926"/>
                <a:gd name="connsiteX2" fmla="*/ -222 w 104812"/>
                <a:gd name="connsiteY2" fmla="*/ 53258 h 66926"/>
                <a:gd name="connsiteX3" fmla="*/ -222 w 104812"/>
                <a:gd name="connsiteY3" fmla="*/ 13243 h 66926"/>
                <a:gd name="connsiteX4" fmla="*/ 13234 w 104812"/>
                <a:gd name="connsiteY4" fmla="*/ -213 h 66926"/>
                <a:gd name="connsiteX5" fmla="*/ 91135 w 104812"/>
                <a:gd name="connsiteY5" fmla="*/ -213 h 66926"/>
                <a:gd name="connsiteX6" fmla="*/ 104591 w 104812"/>
                <a:gd name="connsiteY6" fmla="*/ 13243 h 66926"/>
                <a:gd name="connsiteX7" fmla="*/ 104591 w 104812"/>
                <a:gd name="connsiteY7" fmla="*/ 53258 h 66926"/>
                <a:gd name="connsiteX8" fmla="*/ 91135 w 104812"/>
                <a:gd name="connsiteY8" fmla="*/ 66714 h 6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812" h="66926">
                  <a:moveTo>
                    <a:pt x="91135" y="66714"/>
                  </a:moveTo>
                  <a:lnTo>
                    <a:pt x="13234" y="66714"/>
                  </a:lnTo>
                  <a:cubicBezTo>
                    <a:pt x="5807" y="66705"/>
                    <a:pt x="-213" y="60685"/>
                    <a:pt x="-222" y="53258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91135" y="-213"/>
                  </a:lnTo>
                  <a:cubicBezTo>
                    <a:pt x="98563" y="-204"/>
                    <a:pt x="104582" y="5815"/>
                    <a:pt x="104591" y="13243"/>
                  </a:cubicBezTo>
                  <a:lnTo>
                    <a:pt x="104591" y="53258"/>
                  </a:lnTo>
                  <a:cubicBezTo>
                    <a:pt x="104582" y="60685"/>
                    <a:pt x="98563" y="66705"/>
                    <a:pt x="91135" y="66714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1D287FE-8E92-43C2-ACFC-D623742A295A}"/>
                </a:ext>
              </a:extLst>
            </p:cNvPr>
            <p:cNvSpPr/>
            <p:nvPr/>
          </p:nvSpPr>
          <p:spPr>
            <a:xfrm flipH="1">
              <a:off x="2792711" y="3996694"/>
              <a:ext cx="66923" cy="104812"/>
            </a:xfrm>
            <a:custGeom>
              <a:avLst/>
              <a:gdLst>
                <a:gd name="connsiteX0" fmla="*/ 53246 w 66923"/>
                <a:gd name="connsiteY0" fmla="*/ 104599 h 104812"/>
                <a:gd name="connsiteX1" fmla="*/ 13234 w 66923"/>
                <a:gd name="connsiteY1" fmla="*/ 104599 h 104812"/>
                <a:gd name="connsiteX2" fmla="*/ -222 w 66923"/>
                <a:gd name="connsiteY2" fmla="*/ 91143 h 104812"/>
                <a:gd name="connsiteX3" fmla="*/ -222 w 66923"/>
                <a:gd name="connsiteY3" fmla="*/ 13243 h 104812"/>
                <a:gd name="connsiteX4" fmla="*/ 13234 w 66923"/>
                <a:gd name="connsiteY4" fmla="*/ -213 h 104812"/>
                <a:gd name="connsiteX5" fmla="*/ 53246 w 66923"/>
                <a:gd name="connsiteY5" fmla="*/ -213 h 104812"/>
                <a:gd name="connsiteX6" fmla="*/ 66702 w 66923"/>
                <a:gd name="connsiteY6" fmla="*/ 13243 h 104812"/>
                <a:gd name="connsiteX7" fmla="*/ 66702 w 66923"/>
                <a:gd name="connsiteY7" fmla="*/ 91143 h 104812"/>
                <a:gd name="connsiteX8" fmla="*/ 53246 w 66923"/>
                <a:gd name="connsiteY8" fmla="*/ 104599 h 1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923" h="104812">
                  <a:moveTo>
                    <a:pt x="53246" y="104599"/>
                  </a:moveTo>
                  <a:lnTo>
                    <a:pt x="13234" y="104599"/>
                  </a:lnTo>
                  <a:cubicBezTo>
                    <a:pt x="5807" y="104590"/>
                    <a:pt x="-215" y="98571"/>
                    <a:pt x="-222" y="91143"/>
                  </a:cubicBezTo>
                  <a:lnTo>
                    <a:pt x="-222" y="13243"/>
                  </a:lnTo>
                  <a:cubicBezTo>
                    <a:pt x="-215" y="5815"/>
                    <a:pt x="5807" y="-204"/>
                    <a:pt x="13234" y="-213"/>
                  </a:cubicBezTo>
                  <a:lnTo>
                    <a:pt x="53246" y="-213"/>
                  </a:lnTo>
                  <a:cubicBezTo>
                    <a:pt x="60674" y="-204"/>
                    <a:pt x="66693" y="5815"/>
                    <a:pt x="66702" y="13243"/>
                  </a:cubicBezTo>
                  <a:lnTo>
                    <a:pt x="66702" y="91143"/>
                  </a:lnTo>
                  <a:cubicBezTo>
                    <a:pt x="66693" y="98571"/>
                    <a:pt x="60674" y="104590"/>
                    <a:pt x="53246" y="104599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9C33422-EDEA-44AB-9E12-843B26A4CC80}"/>
                </a:ext>
              </a:extLst>
            </p:cNvPr>
            <p:cNvSpPr/>
            <p:nvPr/>
          </p:nvSpPr>
          <p:spPr>
            <a:xfrm flipH="1">
              <a:off x="2792711" y="4185077"/>
              <a:ext cx="66923" cy="104812"/>
            </a:xfrm>
            <a:custGeom>
              <a:avLst/>
              <a:gdLst>
                <a:gd name="connsiteX0" fmla="*/ 53246 w 66923"/>
                <a:gd name="connsiteY0" fmla="*/ 104599 h 104812"/>
                <a:gd name="connsiteX1" fmla="*/ 13234 w 66923"/>
                <a:gd name="connsiteY1" fmla="*/ 104599 h 104812"/>
                <a:gd name="connsiteX2" fmla="*/ -222 w 66923"/>
                <a:gd name="connsiteY2" fmla="*/ 91143 h 104812"/>
                <a:gd name="connsiteX3" fmla="*/ -222 w 66923"/>
                <a:gd name="connsiteY3" fmla="*/ 13243 h 104812"/>
                <a:gd name="connsiteX4" fmla="*/ 13234 w 66923"/>
                <a:gd name="connsiteY4" fmla="*/ -213 h 104812"/>
                <a:gd name="connsiteX5" fmla="*/ 53246 w 66923"/>
                <a:gd name="connsiteY5" fmla="*/ -213 h 104812"/>
                <a:gd name="connsiteX6" fmla="*/ 66702 w 66923"/>
                <a:gd name="connsiteY6" fmla="*/ 13243 h 104812"/>
                <a:gd name="connsiteX7" fmla="*/ 66702 w 66923"/>
                <a:gd name="connsiteY7" fmla="*/ 91143 h 104812"/>
                <a:gd name="connsiteX8" fmla="*/ 53246 w 66923"/>
                <a:gd name="connsiteY8" fmla="*/ 104599 h 1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923" h="104812">
                  <a:moveTo>
                    <a:pt x="53246" y="104599"/>
                  </a:moveTo>
                  <a:lnTo>
                    <a:pt x="13234" y="104599"/>
                  </a:lnTo>
                  <a:cubicBezTo>
                    <a:pt x="5807" y="104590"/>
                    <a:pt x="-215" y="98571"/>
                    <a:pt x="-222" y="91143"/>
                  </a:cubicBezTo>
                  <a:lnTo>
                    <a:pt x="-222" y="13243"/>
                  </a:lnTo>
                  <a:cubicBezTo>
                    <a:pt x="-215" y="5815"/>
                    <a:pt x="5807" y="-204"/>
                    <a:pt x="13234" y="-213"/>
                  </a:cubicBezTo>
                  <a:lnTo>
                    <a:pt x="53246" y="-213"/>
                  </a:lnTo>
                  <a:cubicBezTo>
                    <a:pt x="60674" y="-204"/>
                    <a:pt x="66693" y="5815"/>
                    <a:pt x="66702" y="13243"/>
                  </a:cubicBezTo>
                  <a:lnTo>
                    <a:pt x="66702" y="91143"/>
                  </a:lnTo>
                  <a:cubicBezTo>
                    <a:pt x="66693" y="98571"/>
                    <a:pt x="60674" y="104590"/>
                    <a:pt x="53246" y="104599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7723166-302A-4392-9987-759BD5B66A8D}"/>
                </a:ext>
              </a:extLst>
            </p:cNvPr>
            <p:cNvSpPr/>
            <p:nvPr/>
          </p:nvSpPr>
          <p:spPr>
            <a:xfrm flipH="1">
              <a:off x="2055469" y="4139991"/>
              <a:ext cx="171736" cy="5980"/>
            </a:xfrm>
            <a:custGeom>
              <a:avLst/>
              <a:gdLst>
                <a:gd name="connsiteX0" fmla="*/ 168525 w 171736"/>
                <a:gd name="connsiteY0" fmla="*/ 5767 h 5980"/>
                <a:gd name="connsiteX1" fmla="*/ 2769 w 171736"/>
                <a:gd name="connsiteY1" fmla="*/ 5767 h 5980"/>
                <a:gd name="connsiteX2" fmla="*/ -222 w 171736"/>
                <a:gd name="connsiteY2" fmla="*/ 2777 h 5980"/>
                <a:gd name="connsiteX3" fmla="*/ 2769 w 171736"/>
                <a:gd name="connsiteY3" fmla="*/ -213 h 5980"/>
                <a:gd name="connsiteX4" fmla="*/ 168525 w 171736"/>
                <a:gd name="connsiteY4" fmla="*/ -213 h 5980"/>
                <a:gd name="connsiteX5" fmla="*/ 171515 w 171736"/>
                <a:gd name="connsiteY5" fmla="*/ 2777 h 5980"/>
                <a:gd name="connsiteX6" fmla="*/ 168525 w 171736"/>
                <a:gd name="connsiteY6" fmla="*/ 5767 h 5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736" h="5980">
                  <a:moveTo>
                    <a:pt x="168525" y="5767"/>
                  </a:moveTo>
                  <a:lnTo>
                    <a:pt x="2769" y="5767"/>
                  </a:lnTo>
                  <a:cubicBezTo>
                    <a:pt x="1115" y="5767"/>
                    <a:pt x="-222" y="4427"/>
                    <a:pt x="-222" y="2777"/>
                  </a:cubicBezTo>
                  <a:cubicBezTo>
                    <a:pt x="-222" y="1123"/>
                    <a:pt x="1115" y="-213"/>
                    <a:pt x="2769" y="-213"/>
                  </a:cubicBezTo>
                  <a:lnTo>
                    <a:pt x="168525" y="-213"/>
                  </a:lnTo>
                  <a:cubicBezTo>
                    <a:pt x="170178" y="-213"/>
                    <a:pt x="171515" y="1123"/>
                    <a:pt x="171515" y="2777"/>
                  </a:cubicBezTo>
                  <a:cubicBezTo>
                    <a:pt x="171515" y="4427"/>
                    <a:pt x="170178" y="5767"/>
                    <a:pt x="168525" y="5767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CBB2BEB-7180-47D1-ACB1-09F2B773D62B}"/>
                </a:ext>
              </a:extLst>
            </p:cNvPr>
            <p:cNvSpPr/>
            <p:nvPr/>
          </p:nvSpPr>
          <p:spPr>
            <a:xfrm flipH="1">
              <a:off x="1830062" y="4044614"/>
              <a:ext cx="166897" cy="101357"/>
            </a:xfrm>
            <a:custGeom>
              <a:avLst/>
              <a:gdLst>
                <a:gd name="connsiteX0" fmla="*/ 2772 w 166897"/>
                <a:gd name="connsiteY0" fmla="*/ 101144 h 101357"/>
                <a:gd name="connsiteX1" fmla="*/ -222 w 166897"/>
                <a:gd name="connsiteY1" fmla="*/ 98157 h 101357"/>
                <a:gd name="connsiteX2" fmla="*/ 1244 w 166897"/>
                <a:gd name="connsiteY2" fmla="*/ 95579 h 101357"/>
                <a:gd name="connsiteX3" fmla="*/ 162162 w 166897"/>
                <a:gd name="connsiteY3" fmla="*/ 204 h 101357"/>
                <a:gd name="connsiteX4" fmla="*/ 166258 w 166897"/>
                <a:gd name="connsiteY4" fmla="*/ 1253 h 101357"/>
                <a:gd name="connsiteX5" fmla="*/ 165209 w 166897"/>
                <a:gd name="connsiteY5" fmla="*/ 5350 h 101357"/>
                <a:gd name="connsiteX6" fmla="*/ 4291 w 166897"/>
                <a:gd name="connsiteY6" fmla="*/ 100725 h 101357"/>
                <a:gd name="connsiteX7" fmla="*/ 2772 w 166897"/>
                <a:gd name="connsiteY7" fmla="*/ 101144 h 10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897" h="101357">
                  <a:moveTo>
                    <a:pt x="2772" y="101144"/>
                  </a:moveTo>
                  <a:cubicBezTo>
                    <a:pt x="1118" y="101144"/>
                    <a:pt x="-222" y="99807"/>
                    <a:pt x="-222" y="98157"/>
                  </a:cubicBezTo>
                  <a:cubicBezTo>
                    <a:pt x="-225" y="97098"/>
                    <a:pt x="335" y="96121"/>
                    <a:pt x="1244" y="95579"/>
                  </a:cubicBezTo>
                  <a:lnTo>
                    <a:pt x="162162" y="204"/>
                  </a:lnTo>
                  <a:cubicBezTo>
                    <a:pt x="163582" y="-637"/>
                    <a:pt x="165415" y="-167"/>
                    <a:pt x="166258" y="1253"/>
                  </a:cubicBezTo>
                  <a:cubicBezTo>
                    <a:pt x="167099" y="2674"/>
                    <a:pt x="166632" y="4510"/>
                    <a:pt x="165209" y="5350"/>
                  </a:cubicBezTo>
                  <a:lnTo>
                    <a:pt x="4291" y="100725"/>
                  </a:lnTo>
                  <a:cubicBezTo>
                    <a:pt x="3830" y="101001"/>
                    <a:pt x="3307" y="101144"/>
                    <a:pt x="2772" y="101144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3DC5475-7871-43DE-9189-D60DD0CD8559}"/>
                </a:ext>
              </a:extLst>
            </p:cNvPr>
            <p:cNvSpPr/>
            <p:nvPr/>
          </p:nvSpPr>
          <p:spPr>
            <a:xfrm flipH="1">
              <a:off x="1830063" y="4139989"/>
              <a:ext cx="166898" cy="101357"/>
            </a:xfrm>
            <a:custGeom>
              <a:avLst/>
              <a:gdLst>
                <a:gd name="connsiteX0" fmla="*/ 163685 w 166898"/>
                <a:gd name="connsiteY0" fmla="*/ 101144 h 101357"/>
                <a:gd name="connsiteX1" fmla="*/ 162163 w 166898"/>
                <a:gd name="connsiteY1" fmla="*/ 100725 h 101357"/>
                <a:gd name="connsiteX2" fmla="*/ 1245 w 166898"/>
                <a:gd name="connsiteY2" fmla="*/ 5350 h 101357"/>
                <a:gd name="connsiteX3" fmla="*/ 196 w 166898"/>
                <a:gd name="connsiteY3" fmla="*/ 1253 h 101357"/>
                <a:gd name="connsiteX4" fmla="*/ 4292 w 166898"/>
                <a:gd name="connsiteY4" fmla="*/ 204 h 101357"/>
                <a:gd name="connsiteX5" fmla="*/ 165210 w 166898"/>
                <a:gd name="connsiteY5" fmla="*/ 95579 h 101357"/>
                <a:gd name="connsiteX6" fmla="*/ 166260 w 166898"/>
                <a:gd name="connsiteY6" fmla="*/ 99676 h 101357"/>
                <a:gd name="connsiteX7" fmla="*/ 163685 w 166898"/>
                <a:gd name="connsiteY7" fmla="*/ 101144 h 10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898" h="101357">
                  <a:moveTo>
                    <a:pt x="163685" y="101144"/>
                  </a:moveTo>
                  <a:cubicBezTo>
                    <a:pt x="163150" y="101144"/>
                    <a:pt x="162624" y="101001"/>
                    <a:pt x="162163" y="100725"/>
                  </a:cubicBezTo>
                  <a:lnTo>
                    <a:pt x="1245" y="5350"/>
                  </a:lnTo>
                  <a:cubicBezTo>
                    <a:pt x="-175" y="4510"/>
                    <a:pt x="-645" y="2674"/>
                    <a:pt x="196" y="1253"/>
                  </a:cubicBezTo>
                  <a:cubicBezTo>
                    <a:pt x="1039" y="-167"/>
                    <a:pt x="2872" y="-637"/>
                    <a:pt x="4292" y="204"/>
                  </a:cubicBezTo>
                  <a:lnTo>
                    <a:pt x="165210" y="95579"/>
                  </a:lnTo>
                  <a:cubicBezTo>
                    <a:pt x="166633" y="96423"/>
                    <a:pt x="167100" y="98256"/>
                    <a:pt x="166260" y="99676"/>
                  </a:cubicBezTo>
                  <a:cubicBezTo>
                    <a:pt x="165721" y="100588"/>
                    <a:pt x="164741" y="101144"/>
                    <a:pt x="163685" y="101144"/>
                  </a:cubicBezTo>
                  <a:close/>
                </a:path>
              </a:pathLst>
            </a:custGeom>
            <a:solidFill>
              <a:srgbClr val="3F3D56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E504799-EEB8-4D4C-B593-6A9431D942E3}"/>
                </a:ext>
              </a:extLst>
            </p:cNvPr>
            <p:cNvSpPr/>
            <p:nvPr/>
          </p:nvSpPr>
          <p:spPr>
            <a:xfrm flipH="1">
              <a:off x="1993028" y="4089391"/>
              <a:ext cx="66926" cy="104812"/>
            </a:xfrm>
            <a:custGeom>
              <a:avLst/>
              <a:gdLst>
                <a:gd name="connsiteX0" fmla="*/ 53249 w 66926"/>
                <a:gd name="connsiteY0" fmla="*/ 104599 h 104812"/>
                <a:gd name="connsiteX1" fmla="*/ 13234 w 66926"/>
                <a:gd name="connsiteY1" fmla="*/ 104599 h 104812"/>
                <a:gd name="connsiteX2" fmla="*/ -222 w 66926"/>
                <a:gd name="connsiteY2" fmla="*/ 91143 h 104812"/>
                <a:gd name="connsiteX3" fmla="*/ -222 w 66926"/>
                <a:gd name="connsiteY3" fmla="*/ 13243 h 104812"/>
                <a:gd name="connsiteX4" fmla="*/ 13234 w 66926"/>
                <a:gd name="connsiteY4" fmla="*/ -213 h 104812"/>
                <a:gd name="connsiteX5" fmla="*/ 53249 w 66926"/>
                <a:gd name="connsiteY5" fmla="*/ -213 h 104812"/>
                <a:gd name="connsiteX6" fmla="*/ 66705 w 66926"/>
                <a:gd name="connsiteY6" fmla="*/ 13243 h 104812"/>
                <a:gd name="connsiteX7" fmla="*/ 66705 w 66926"/>
                <a:gd name="connsiteY7" fmla="*/ 91143 h 104812"/>
                <a:gd name="connsiteX8" fmla="*/ 53249 w 66926"/>
                <a:gd name="connsiteY8" fmla="*/ 104599 h 1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926" h="104812">
                  <a:moveTo>
                    <a:pt x="53249" y="104599"/>
                  </a:moveTo>
                  <a:lnTo>
                    <a:pt x="13234" y="104599"/>
                  </a:lnTo>
                  <a:cubicBezTo>
                    <a:pt x="5807" y="104590"/>
                    <a:pt x="-213" y="98571"/>
                    <a:pt x="-222" y="91143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53249" y="-213"/>
                  </a:lnTo>
                  <a:cubicBezTo>
                    <a:pt x="60677" y="-204"/>
                    <a:pt x="66696" y="5815"/>
                    <a:pt x="66705" y="13243"/>
                  </a:cubicBezTo>
                  <a:lnTo>
                    <a:pt x="66705" y="91143"/>
                  </a:lnTo>
                  <a:cubicBezTo>
                    <a:pt x="66696" y="98571"/>
                    <a:pt x="60677" y="104590"/>
                    <a:pt x="53249" y="104599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7513E12-D261-4971-AD49-E25A74F08B92}"/>
                </a:ext>
              </a:extLst>
            </p:cNvPr>
            <p:cNvSpPr/>
            <p:nvPr/>
          </p:nvSpPr>
          <p:spPr>
            <a:xfrm flipH="1">
              <a:off x="1768762" y="3996694"/>
              <a:ext cx="66926" cy="104812"/>
            </a:xfrm>
            <a:custGeom>
              <a:avLst/>
              <a:gdLst>
                <a:gd name="connsiteX0" fmla="*/ 53249 w 66926"/>
                <a:gd name="connsiteY0" fmla="*/ 104599 h 104812"/>
                <a:gd name="connsiteX1" fmla="*/ 13234 w 66926"/>
                <a:gd name="connsiteY1" fmla="*/ 104599 h 104812"/>
                <a:gd name="connsiteX2" fmla="*/ -222 w 66926"/>
                <a:gd name="connsiteY2" fmla="*/ 91143 h 104812"/>
                <a:gd name="connsiteX3" fmla="*/ -222 w 66926"/>
                <a:gd name="connsiteY3" fmla="*/ 13243 h 104812"/>
                <a:gd name="connsiteX4" fmla="*/ 13234 w 66926"/>
                <a:gd name="connsiteY4" fmla="*/ -213 h 104812"/>
                <a:gd name="connsiteX5" fmla="*/ 53249 w 66926"/>
                <a:gd name="connsiteY5" fmla="*/ -213 h 104812"/>
                <a:gd name="connsiteX6" fmla="*/ 66705 w 66926"/>
                <a:gd name="connsiteY6" fmla="*/ 13243 h 104812"/>
                <a:gd name="connsiteX7" fmla="*/ 66705 w 66926"/>
                <a:gd name="connsiteY7" fmla="*/ 91143 h 104812"/>
                <a:gd name="connsiteX8" fmla="*/ 53249 w 66926"/>
                <a:gd name="connsiteY8" fmla="*/ 104599 h 1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926" h="104812">
                  <a:moveTo>
                    <a:pt x="53249" y="104599"/>
                  </a:moveTo>
                  <a:lnTo>
                    <a:pt x="13234" y="104599"/>
                  </a:lnTo>
                  <a:cubicBezTo>
                    <a:pt x="5807" y="104590"/>
                    <a:pt x="-213" y="98571"/>
                    <a:pt x="-222" y="91143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53249" y="-213"/>
                  </a:lnTo>
                  <a:cubicBezTo>
                    <a:pt x="60677" y="-204"/>
                    <a:pt x="66696" y="5815"/>
                    <a:pt x="66705" y="13243"/>
                  </a:cubicBezTo>
                  <a:lnTo>
                    <a:pt x="66705" y="91143"/>
                  </a:lnTo>
                  <a:cubicBezTo>
                    <a:pt x="66696" y="98571"/>
                    <a:pt x="60677" y="104590"/>
                    <a:pt x="53249" y="104599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C2C92A7-B16A-481D-AA27-499A437044AE}"/>
                </a:ext>
              </a:extLst>
            </p:cNvPr>
            <p:cNvSpPr/>
            <p:nvPr/>
          </p:nvSpPr>
          <p:spPr>
            <a:xfrm flipH="1">
              <a:off x="1768762" y="4185077"/>
              <a:ext cx="66926" cy="104812"/>
            </a:xfrm>
            <a:custGeom>
              <a:avLst/>
              <a:gdLst>
                <a:gd name="connsiteX0" fmla="*/ 53249 w 66926"/>
                <a:gd name="connsiteY0" fmla="*/ 104599 h 104812"/>
                <a:gd name="connsiteX1" fmla="*/ 13234 w 66926"/>
                <a:gd name="connsiteY1" fmla="*/ 104599 h 104812"/>
                <a:gd name="connsiteX2" fmla="*/ -222 w 66926"/>
                <a:gd name="connsiteY2" fmla="*/ 91143 h 104812"/>
                <a:gd name="connsiteX3" fmla="*/ -222 w 66926"/>
                <a:gd name="connsiteY3" fmla="*/ 13243 h 104812"/>
                <a:gd name="connsiteX4" fmla="*/ 13234 w 66926"/>
                <a:gd name="connsiteY4" fmla="*/ -213 h 104812"/>
                <a:gd name="connsiteX5" fmla="*/ 53249 w 66926"/>
                <a:gd name="connsiteY5" fmla="*/ -213 h 104812"/>
                <a:gd name="connsiteX6" fmla="*/ 66705 w 66926"/>
                <a:gd name="connsiteY6" fmla="*/ 13243 h 104812"/>
                <a:gd name="connsiteX7" fmla="*/ 66705 w 66926"/>
                <a:gd name="connsiteY7" fmla="*/ 91143 h 104812"/>
                <a:gd name="connsiteX8" fmla="*/ 53249 w 66926"/>
                <a:gd name="connsiteY8" fmla="*/ 104599 h 1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926" h="104812">
                  <a:moveTo>
                    <a:pt x="53249" y="104599"/>
                  </a:moveTo>
                  <a:lnTo>
                    <a:pt x="13234" y="104599"/>
                  </a:lnTo>
                  <a:cubicBezTo>
                    <a:pt x="5807" y="104590"/>
                    <a:pt x="-213" y="98571"/>
                    <a:pt x="-222" y="91143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53249" y="-213"/>
                  </a:lnTo>
                  <a:cubicBezTo>
                    <a:pt x="60677" y="-204"/>
                    <a:pt x="66696" y="5815"/>
                    <a:pt x="66705" y="13243"/>
                  </a:cubicBezTo>
                  <a:lnTo>
                    <a:pt x="66705" y="91143"/>
                  </a:lnTo>
                  <a:cubicBezTo>
                    <a:pt x="66696" y="98571"/>
                    <a:pt x="60677" y="104590"/>
                    <a:pt x="53249" y="104599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F8A12F6-48A1-45F4-A696-20B2168A9613}"/>
                </a:ext>
              </a:extLst>
            </p:cNvPr>
            <p:cNvSpPr/>
            <p:nvPr/>
          </p:nvSpPr>
          <p:spPr>
            <a:xfrm flipH="1">
              <a:off x="2435226" y="4434939"/>
              <a:ext cx="104812" cy="66926"/>
            </a:xfrm>
            <a:custGeom>
              <a:avLst/>
              <a:gdLst>
                <a:gd name="connsiteX0" fmla="*/ 91135 w 104812"/>
                <a:gd name="connsiteY0" fmla="*/ 66713 h 66926"/>
                <a:gd name="connsiteX1" fmla="*/ 13234 w 104812"/>
                <a:gd name="connsiteY1" fmla="*/ 66713 h 66926"/>
                <a:gd name="connsiteX2" fmla="*/ -222 w 104812"/>
                <a:gd name="connsiteY2" fmla="*/ 53258 h 66926"/>
                <a:gd name="connsiteX3" fmla="*/ -222 w 104812"/>
                <a:gd name="connsiteY3" fmla="*/ 13243 h 66926"/>
                <a:gd name="connsiteX4" fmla="*/ 13234 w 104812"/>
                <a:gd name="connsiteY4" fmla="*/ -213 h 66926"/>
                <a:gd name="connsiteX5" fmla="*/ 91135 w 104812"/>
                <a:gd name="connsiteY5" fmla="*/ -213 h 66926"/>
                <a:gd name="connsiteX6" fmla="*/ 104591 w 104812"/>
                <a:gd name="connsiteY6" fmla="*/ 13243 h 66926"/>
                <a:gd name="connsiteX7" fmla="*/ 104591 w 104812"/>
                <a:gd name="connsiteY7" fmla="*/ 53258 h 66926"/>
                <a:gd name="connsiteX8" fmla="*/ 91135 w 104812"/>
                <a:gd name="connsiteY8" fmla="*/ 66713 h 6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812" h="66926">
                  <a:moveTo>
                    <a:pt x="91135" y="66713"/>
                  </a:moveTo>
                  <a:lnTo>
                    <a:pt x="13234" y="66713"/>
                  </a:lnTo>
                  <a:cubicBezTo>
                    <a:pt x="5807" y="66705"/>
                    <a:pt x="-213" y="60685"/>
                    <a:pt x="-222" y="53258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91135" y="-213"/>
                  </a:lnTo>
                  <a:cubicBezTo>
                    <a:pt x="98563" y="-204"/>
                    <a:pt x="104582" y="5815"/>
                    <a:pt x="104591" y="13243"/>
                  </a:cubicBezTo>
                  <a:lnTo>
                    <a:pt x="104591" y="53258"/>
                  </a:lnTo>
                  <a:cubicBezTo>
                    <a:pt x="104582" y="60685"/>
                    <a:pt x="98563" y="66705"/>
                    <a:pt x="91135" y="66713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A66CE9D-1201-4D43-8B19-DD0C726C6EB6}"/>
                </a:ext>
              </a:extLst>
            </p:cNvPr>
            <p:cNvSpPr/>
            <p:nvPr/>
          </p:nvSpPr>
          <p:spPr>
            <a:xfrm flipH="1">
              <a:off x="2088915" y="4434939"/>
              <a:ext cx="104812" cy="66926"/>
            </a:xfrm>
            <a:custGeom>
              <a:avLst/>
              <a:gdLst>
                <a:gd name="connsiteX0" fmla="*/ 91135 w 104812"/>
                <a:gd name="connsiteY0" fmla="*/ 66713 h 66926"/>
                <a:gd name="connsiteX1" fmla="*/ 13234 w 104812"/>
                <a:gd name="connsiteY1" fmla="*/ 66713 h 66926"/>
                <a:gd name="connsiteX2" fmla="*/ -222 w 104812"/>
                <a:gd name="connsiteY2" fmla="*/ 53258 h 66926"/>
                <a:gd name="connsiteX3" fmla="*/ -222 w 104812"/>
                <a:gd name="connsiteY3" fmla="*/ 13243 h 66926"/>
                <a:gd name="connsiteX4" fmla="*/ 13234 w 104812"/>
                <a:gd name="connsiteY4" fmla="*/ -213 h 66926"/>
                <a:gd name="connsiteX5" fmla="*/ 91135 w 104812"/>
                <a:gd name="connsiteY5" fmla="*/ -213 h 66926"/>
                <a:gd name="connsiteX6" fmla="*/ 104591 w 104812"/>
                <a:gd name="connsiteY6" fmla="*/ 13243 h 66926"/>
                <a:gd name="connsiteX7" fmla="*/ 104591 w 104812"/>
                <a:gd name="connsiteY7" fmla="*/ 53258 h 66926"/>
                <a:gd name="connsiteX8" fmla="*/ 91135 w 104812"/>
                <a:gd name="connsiteY8" fmla="*/ 66713 h 6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812" h="66926">
                  <a:moveTo>
                    <a:pt x="91135" y="66713"/>
                  </a:moveTo>
                  <a:lnTo>
                    <a:pt x="13234" y="66713"/>
                  </a:lnTo>
                  <a:cubicBezTo>
                    <a:pt x="5807" y="66705"/>
                    <a:pt x="-213" y="60685"/>
                    <a:pt x="-222" y="53258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91135" y="-213"/>
                  </a:lnTo>
                  <a:cubicBezTo>
                    <a:pt x="98563" y="-204"/>
                    <a:pt x="104582" y="5815"/>
                    <a:pt x="104591" y="13243"/>
                  </a:cubicBezTo>
                  <a:lnTo>
                    <a:pt x="104591" y="53258"/>
                  </a:lnTo>
                  <a:cubicBezTo>
                    <a:pt x="104582" y="60685"/>
                    <a:pt x="98563" y="66705"/>
                    <a:pt x="91135" y="66713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2C5DE40-A11C-4BAD-B7EE-32AC1908CCBD}"/>
                </a:ext>
              </a:extLst>
            </p:cNvPr>
            <p:cNvSpPr/>
            <p:nvPr/>
          </p:nvSpPr>
          <p:spPr>
            <a:xfrm flipH="1">
              <a:off x="2247396" y="4581459"/>
              <a:ext cx="104812" cy="66926"/>
            </a:xfrm>
            <a:custGeom>
              <a:avLst/>
              <a:gdLst>
                <a:gd name="connsiteX0" fmla="*/ 91135 w 104812"/>
                <a:gd name="connsiteY0" fmla="*/ 66714 h 66926"/>
                <a:gd name="connsiteX1" fmla="*/ 13234 w 104812"/>
                <a:gd name="connsiteY1" fmla="*/ 66714 h 66926"/>
                <a:gd name="connsiteX2" fmla="*/ -222 w 104812"/>
                <a:gd name="connsiteY2" fmla="*/ 53258 h 66926"/>
                <a:gd name="connsiteX3" fmla="*/ -222 w 104812"/>
                <a:gd name="connsiteY3" fmla="*/ 13243 h 66926"/>
                <a:gd name="connsiteX4" fmla="*/ 13234 w 104812"/>
                <a:gd name="connsiteY4" fmla="*/ -213 h 66926"/>
                <a:gd name="connsiteX5" fmla="*/ 91135 w 104812"/>
                <a:gd name="connsiteY5" fmla="*/ -213 h 66926"/>
                <a:gd name="connsiteX6" fmla="*/ 104591 w 104812"/>
                <a:gd name="connsiteY6" fmla="*/ 13243 h 66926"/>
                <a:gd name="connsiteX7" fmla="*/ 104591 w 104812"/>
                <a:gd name="connsiteY7" fmla="*/ 53258 h 66926"/>
                <a:gd name="connsiteX8" fmla="*/ 91135 w 104812"/>
                <a:gd name="connsiteY8" fmla="*/ 66714 h 6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812" h="66926">
                  <a:moveTo>
                    <a:pt x="91135" y="66714"/>
                  </a:moveTo>
                  <a:lnTo>
                    <a:pt x="13234" y="66714"/>
                  </a:lnTo>
                  <a:cubicBezTo>
                    <a:pt x="5807" y="66705"/>
                    <a:pt x="-213" y="60685"/>
                    <a:pt x="-222" y="53258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91135" y="-213"/>
                  </a:lnTo>
                  <a:cubicBezTo>
                    <a:pt x="98563" y="-204"/>
                    <a:pt x="104582" y="5815"/>
                    <a:pt x="104591" y="13243"/>
                  </a:cubicBezTo>
                  <a:lnTo>
                    <a:pt x="104591" y="53258"/>
                  </a:lnTo>
                  <a:cubicBezTo>
                    <a:pt x="104582" y="60685"/>
                    <a:pt x="98563" y="66705"/>
                    <a:pt x="91135" y="66714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B4DEF89-7E86-4165-A4F5-DA4C7A76118D}"/>
                </a:ext>
              </a:extLst>
            </p:cNvPr>
            <p:cNvSpPr/>
            <p:nvPr/>
          </p:nvSpPr>
          <p:spPr>
            <a:xfrm flipH="1">
              <a:off x="1915483" y="4581459"/>
              <a:ext cx="104812" cy="66926"/>
            </a:xfrm>
            <a:custGeom>
              <a:avLst/>
              <a:gdLst>
                <a:gd name="connsiteX0" fmla="*/ 91135 w 104812"/>
                <a:gd name="connsiteY0" fmla="*/ 66714 h 66926"/>
                <a:gd name="connsiteX1" fmla="*/ 13234 w 104812"/>
                <a:gd name="connsiteY1" fmla="*/ 66714 h 66926"/>
                <a:gd name="connsiteX2" fmla="*/ -222 w 104812"/>
                <a:gd name="connsiteY2" fmla="*/ 53258 h 66926"/>
                <a:gd name="connsiteX3" fmla="*/ -222 w 104812"/>
                <a:gd name="connsiteY3" fmla="*/ 13243 h 66926"/>
                <a:gd name="connsiteX4" fmla="*/ 13234 w 104812"/>
                <a:gd name="connsiteY4" fmla="*/ -213 h 66926"/>
                <a:gd name="connsiteX5" fmla="*/ 91135 w 104812"/>
                <a:gd name="connsiteY5" fmla="*/ -213 h 66926"/>
                <a:gd name="connsiteX6" fmla="*/ 104591 w 104812"/>
                <a:gd name="connsiteY6" fmla="*/ 13243 h 66926"/>
                <a:gd name="connsiteX7" fmla="*/ 104591 w 104812"/>
                <a:gd name="connsiteY7" fmla="*/ 53258 h 66926"/>
                <a:gd name="connsiteX8" fmla="*/ 91135 w 104812"/>
                <a:gd name="connsiteY8" fmla="*/ 66714 h 6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812" h="66926">
                  <a:moveTo>
                    <a:pt x="91135" y="66714"/>
                  </a:moveTo>
                  <a:lnTo>
                    <a:pt x="13234" y="66714"/>
                  </a:lnTo>
                  <a:cubicBezTo>
                    <a:pt x="5807" y="66705"/>
                    <a:pt x="-213" y="60685"/>
                    <a:pt x="-222" y="53258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91135" y="-213"/>
                  </a:lnTo>
                  <a:cubicBezTo>
                    <a:pt x="98563" y="-204"/>
                    <a:pt x="104582" y="5815"/>
                    <a:pt x="104591" y="13243"/>
                  </a:cubicBezTo>
                  <a:lnTo>
                    <a:pt x="104591" y="53258"/>
                  </a:lnTo>
                  <a:cubicBezTo>
                    <a:pt x="104582" y="60685"/>
                    <a:pt x="98563" y="66705"/>
                    <a:pt x="91135" y="66714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A6DB8C06-778A-48F0-8EF4-8B45F7DC49D0}"/>
                </a:ext>
              </a:extLst>
            </p:cNvPr>
            <p:cNvSpPr/>
            <p:nvPr/>
          </p:nvSpPr>
          <p:spPr>
            <a:xfrm flipH="1">
              <a:off x="2088915" y="4581459"/>
              <a:ext cx="104812" cy="66926"/>
            </a:xfrm>
            <a:custGeom>
              <a:avLst/>
              <a:gdLst>
                <a:gd name="connsiteX0" fmla="*/ 91135 w 104812"/>
                <a:gd name="connsiteY0" fmla="*/ 66714 h 66926"/>
                <a:gd name="connsiteX1" fmla="*/ 13234 w 104812"/>
                <a:gd name="connsiteY1" fmla="*/ 66714 h 66926"/>
                <a:gd name="connsiteX2" fmla="*/ -222 w 104812"/>
                <a:gd name="connsiteY2" fmla="*/ 53258 h 66926"/>
                <a:gd name="connsiteX3" fmla="*/ -222 w 104812"/>
                <a:gd name="connsiteY3" fmla="*/ 13243 h 66926"/>
                <a:gd name="connsiteX4" fmla="*/ 13234 w 104812"/>
                <a:gd name="connsiteY4" fmla="*/ -213 h 66926"/>
                <a:gd name="connsiteX5" fmla="*/ 91135 w 104812"/>
                <a:gd name="connsiteY5" fmla="*/ -213 h 66926"/>
                <a:gd name="connsiteX6" fmla="*/ 104591 w 104812"/>
                <a:gd name="connsiteY6" fmla="*/ 13243 h 66926"/>
                <a:gd name="connsiteX7" fmla="*/ 104591 w 104812"/>
                <a:gd name="connsiteY7" fmla="*/ 53258 h 66926"/>
                <a:gd name="connsiteX8" fmla="*/ 91135 w 104812"/>
                <a:gd name="connsiteY8" fmla="*/ 66714 h 6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812" h="66926">
                  <a:moveTo>
                    <a:pt x="91135" y="66714"/>
                  </a:moveTo>
                  <a:lnTo>
                    <a:pt x="13234" y="66714"/>
                  </a:lnTo>
                  <a:cubicBezTo>
                    <a:pt x="5807" y="66705"/>
                    <a:pt x="-213" y="60685"/>
                    <a:pt x="-222" y="53258"/>
                  </a:cubicBezTo>
                  <a:lnTo>
                    <a:pt x="-222" y="13243"/>
                  </a:lnTo>
                  <a:cubicBezTo>
                    <a:pt x="-213" y="5815"/>
                    <a:pt x="5807" y="-204"/>
                    <a:pt x="13234" y="-213"/>
                  </a:cubicBezTo>
                  <a:lnTo>
                    <a:pt x="91135" y="-213"/>
                  </a:lnTo>
                  <a:cubicBezTo>
                    <a:pt x="98563" y="-204"/>
                    <a:pt x="104582" y="5815"/>
                    <a:pt x="104591" y="13243"/>
                  </a:cubicBezTo>
                  <a:lnTo>
                    <a:pt x="104591" y="53258"/>
                  </a:lnTo>
                  <a:cubicBezTo>
                    <a:pt x="104582" y="60685"/>
                    <a:pt x="98563" y="66705"/>
                    <a:pt x="91135" y="66714"/>
                  </a:cubicBezTo>
                  <a:close/>
                </a:path>
              </a:pathLst>
            </a:custGeom>
            <a:solidFill>
              <a:srgbClr val="CCCCCC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A910F2A-0FEE-402B-B12C-97CAEDD1770F}"/>
                </a:ext>
              </a:extLst>
            </p:cNvPr>
            <p:cNvSpPr/>
            <p:nvPr/>
          </p:nvSpPr>
          <p:spPr>
            <a:xfrm flipH="1">
              <a:off x="2206047" y="4090963"/>
              <a:ext cx="216305" cy="104035"/>
            </a:xfrm>
            <a:custGeom>
              <a:avLst/>
              <a:gdLst>
                <a:gd name="connsiteX0" fmla="*/ 202628 w 216305"/>
                <a:gd name="connsiteY0" fmla="*/ 103822 h 104035"/>
                <a:gd name="connsiteX1" fmla="*/ 13234 w 216305"/>
                <a:gd name="connsiteY1" fmla="*/ 103822 h 104035"/>
                <a:gd name="connsiteX2" fmla="*/ -222 w 216305"/>
                <a:gd name="connsiteY2" fmla="*/ 90366 h 104035"/>
                <a:gd name="connsiteX3" fmla="*/ -222 w 216305"/>
                <a:gd name="connsiteY3" fmla="*/ 13243 h 104035"/>
                <a:gd name="connsiteX4" fmla="*/ 13234 w 216305"/>
                <a:gd name="connsiteY4" fmla="*/ -213 h 104035"/>
                <a:gd name="connsiteX5" fmla="*/ 202628 w 216305"/>
                <a:gd name="connsiteY5" fmla="*/ -213 h 104035"/>
                <a:gd name="connsiteX6" fmla="*/ 216084 w 216305"/>
                <a:gd name="connsiteY6" fmla="*/ 13243 h 104035"/>
                <a:gd name="connsiteX7" fmla="*/ 216084 w 216305"/>
                <a:gd name="connsiteY7" fmla="*/ 90366 h 104035"/>
                <a:gd name="connsiteX8" fmla="*/ 202628 w 216305"/>
                <a:gd name="connsiteY8" fmla="*/ 103822 h 10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305" h="104035">
                  <a:moveTo>
                    <a:pt x="202628" y="103822"/>
                  </a:moveTo>
                  <a:lnTo>
                    <a:pt x="13234" y="103822"/>
                  </a:lnTo>
                  <a:cubicBezTo>
                    <a:pt x="5807" y="103813"/>
                    <a:pt x="-212" y="97794"/>
                    <a:pt x="-222" y="90366"/>
                  </a:cubicBezTo>
                  <a:lnTo>
                    <a:pt x="-222" y="13243"/>
                  </a:lnTo>
                  <a:cubicBezTo>
                    <a:pt x="-212" y="5815"/>
                    <a:pt x="5807" y="-204"/>
                    <a:pt x="13234" y="-213"/>
                  </a:cubicBezTo>
                  <a:lnTo>
                    <a:pt x="202628" y="-213"/>
                  </a:lnTo>
                  <a:cubicBezTo>
                    <a:pt x="210059" y="-204"/>
                    <a:pt x="216078" y="5815"/>
                    <a:pt x="216084" y="13243"/>
                  </a:cubicBezTo>
                  <a:lnTo>
                    <a:pt x="216084" y="90366"/>
                  </a:lnTo>
                  <a:cubicBezTo>
                    <a:pt x="216078" y="97794"/>
                    <a:pt x="210056" y="103813"/>
                    <a:pt x="202628" y="103822"/>
                  </a:cubicBezTo>
                  <a:close/>
                </a:path>
              </a:pathLst>
            </a:custGeom>
            <a:solidFill>
              <a:srgbClr val="6C63FF"/>
            </a:solidFill>
            <a:ln w="29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75478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EE040C9C-8615-4ABA-92E9-4BDAEED8DA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16548" y="1327828"/>
            <a:ext cx="9641102" cy="539947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B824566-AC5E-4915-9A50-423D1EC62073}"/>
              </a:ext>
            </a:extLst>
          </p:cNvPr>
          <p:cNvSpPr txBox="1"/>
          <p:nvPr/>
        </p:nvSpPr>
        <p:spPr>
          <a:xfrm>
            <a:off x="2562679" y="563261"/>
            <a:ext cx="5479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Màn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Hính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Chính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46FD7D-687C-463E-AB62-B0B932A8F21B}"/>
              </a:ext>
            </a:extLst>
          </p:cNvPr>
          <p:cNvCxnSpPr/>
          <p:nvPr/>
        </p:nvCxnSpPr>
        <p:spPr>
          <a:xfrm>
            <a:off x="2608399" y="1070646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F85AA25A-2EE3-4A0F-91A7-B30CD667BC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-128564"/>
            <a:ext cx="2440759" cy="1839587"/>
          </a:xfrm>
          <a:prstGeom prst="rect">
            <a:avLst/>
          </a:prstGeom>
        </p:spPr>
      </p:pic>
      <p:sp>
        <p:nvSpPr>
          <p:cNvPr id="9" name="三角形 20">
            <a:extLst>
              <a:ext uri="{FF2B5EF4-FFF2-40B4-BE49-F238E27FC236}">
                <a16:creationId xmlns:a16="http://schemas.microsoft.com/office/drawing/2014/main" id="{82F1F709-26DD-4CC1-845F-74933A8E5A41}"/>
              </a:ext>
            </a:extLst>
          </p:cNvPr>
          <p:cNvSpPr/>
          <p:nvPr/>
        </p:nvSpPr>
        <p:spPr>
          <a:xfrm rot="15369999" flipH="1">
            <a:off x="11431501" y="7067"/>
            <a:ext cx="1150658" cy="641856"/>
          </a:xfrm>
          <a:prstGeom prst="triangle">
            <a:avLst/>
          </a:pr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0552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C966E32C-D7AA-4617-8A4F-1930C1C24BFB}"/>
              </a:ext>
            </a:extLst>
          </p:cNvPr>
          <p:cNvGrpSpPr/>
          <p:nvPr/>
        </p:nvGrpSpPr>
        <p:grpSpPr>
          <a:xfrm>
            <a:off x="8167829" y="2336084"/>
            <a:ext cx="2932359" cy="1391427"/>
            <a:chOff x="8167829" y="2336084"/>
            <a:chExt cx="2932359" cy="1391427"/>
          </a:xfrm>
        </p:grpSpPr>
        <p:sp>
          <p:nvSpPr>
            <p:cNvPr id="82" name="í$ḷíďé"/>
            <p:cNvSpPr>
              <a:spLocks/>
            </p:cNvSpPr>
            <p:nvPr/>
          </p:nvSpPr>
          <p:spPr bwMode="auto">
            <a:xfrm>
              <a:off x="8167829" y="2336084"/>
              <a:ext cx="2932359" cy="1391427"/>
            </a:xfrm>
            <a:prstGeom prst="rightArrow">
              <a:avLst>
                <a:gd name="adj1" fmla="val 69463"/>
                <a:gd name="adj2" fmla="val 28319"/>
              </a:avLst>
            </a:prstGeom>
            <a:solidFill>
              <a:srgbClr val="2E2E3F"/>
            </a:solidFill>
            <a:ln w="25400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sz="2489" dirty="0">
                <a:latin typeface="微软雅黑" panose="020B0503020204020204" pitchFamily="34" charset="-122"/>
              </a:endParaRPr>
            </a:p>
          </p:txBody>
        </p:sp>
        <p:sp>
          <p:nvSpPr>
            <p:cNvPr id="141" name="Trophy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F925F2A-B990-47E8-998D-5CE8694B4613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9280839" y="2789262"/>
              <a:ext cx="559051" cy="542925"/>
            </a:xfrm>
            <a:custGeom>
              <a:avLst/>
              <a:gdLst>
                <a:gd name="T0" fmla="*/ 324 w 400"/>
                <a:gd name="T1" fmla="*/ 37 h 387"/>
                <a:gd name="T2" fmla="*/ 325 w 400"/>
                <a:gd name="T3" fmla="*/ 0 h 387"/>
                <a:gd name="T4" fmla="*/ 200 w 400"/>
                <a:gd name="T5" fmla="*/ 0 h 387"/>
                <a:gd name="T6" fmla="*/ 75 w 400"/>
                <a:gd name="T7" fmla="*/ 0 h 387"/>
                <a:gd name="T8" fmla="*/ 76 w 400"/>
                <a:gd name="T9" fmla="*/ 37 h 387"/>
                <a:gd name="T10" fmla="*/ 0 w 400"/>
                <a:gd name="T11" fmla="*/ 37 h 387"/>
                <a:gd name="T12" fmla="*/ 0 w 400"/>
                <a:gd name="T13" fmla="*/ 50 h 387"/>
                <a:gd name="T14" fmla="*/ 175 w 400"/>
                <a:gd name="T15" fmla="*/ 257 h 387"/>
                <a:gd name="T16" fmla="*/ 175 w 400"/>
                <a:gd name="T17" fmla="*/ 300 h 387"/>
                <a:gd name="T18" fmla="*/ 138 w 400"/>
                <a:gd name="T19" fmla="*/ 337 h 387"/>
                <a:gd name="T20" fmla="*/ 113 w 400"/>
                <a:gd name="T21" fmla="*/ 337 h 387"/>
                <a:gd name="T22" fmla="*/ 113 w 400"/>
                <a:gd name="T23" fmla="*/ 387 h 387"/>
                <a:gd name="T24" fmla="*/ 288 w 400"/>
                <a:gd name="T25" fmla="*/ 387 h 387"/>
                <a:gd name="T26" fmla="*/ 288 w 400"/>
                <a:gd name="T27" fmla="*/ 337 h 387"/>
                <a:gd name="T28" fmla="*/ 263 w 400"/>
                <a:gd name="T29" fmla="*/ 337 h 387"/>
                <a:gd name="T30" fmla="*/ 225 w 400"/>
                <a:gd name="T31" fmla="*/ 300 h 387"/>
                <a:gd name="T32" fmla="*/ 225 w 400"/>
                <a:gd name="T33" fmla="*/ 257 h 387"/>
                <a:gd name="T34" fmla="*/ 400 w 400"/>
                <a:gd name="T35" fmla="*/ 50 h 387"/>
                <a:gd name="T36" fmla="*/ 400 w 400"/>
                <a:gd name="T37" fmla="*/ 37 h 387"/>
                <a:gd name="T38" fmla="*/ 324 w 400"/>
                <a:gd name="T39" fmla="*/ 37 h 387"/>
                <a:gd name="T40" fmla="*/ 26 w 400"/>
                <a:gd name="T41" fmla="*/ 62 h 387"/>
                <a:gd name="T42" fmla="*/ 79 w 400"/>
                <a:gd name="T43" fmla="*/ 62 h 387"/>
                <a:gd name="T44" fmla="*/ 113 w 400"/>
                <a:gd name="T45" fmla="*/ 187 h 387"/>
                <a:gd name="T46" fmla="*/ 26 w 400"/>
                <a:gd name="T47" fmla="*/ 62 h 387"/>
                <a:gd name="T48" fmla="*/ 289 w 400"/>
                <a:gd name="T49" fmla="*/ 187 h 387"/>
                <a:gd name="T50" fmla="*/ 323 w 400"/>
                <a:gd name="T51" fmla="*/ 62 h 387"/>
                <a:gd name="T52" fmla="*/ 375 w 400"/>
                <a:gd name="T53" fmla="*/ 62 h 387"/>
                <a:gd name="T54" fmla="*/ 289 w 400"/>
                <a:gd name="T55" fmla="*/ 1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0" h="387">
                  <a:moveTo>
                    <a:pt x="324" y="37"/>
                  </a:moveTo>
                  <a:cubicBezTo>
                    <a:pt x="325" y="25"/>
                    <a:pt x="325" y="13"/>
                    <a:pt x="325" y="0"/>
                  </a:cubicBezTo>
                  <a:lnTo>
                    <a:pt x="200" y="0"/>
                  </a:lnTo>
                  <a:lnTo>
                    <a:pt x="75" y="0"/>
                  </a:lnTo>
                  <a:cubicBezTo>
                    <a:pt x="75" y="13"/>
                    <a:pt x="75" y="25"/>
                    <a:pt x="76" y="37"/>
                  </a:cubicBezTo>
                  <a:lnTo>
                    <a:pt x="0" y="37"/>
                  </a:lnTo>
                  <a:lnTo>
                    <a:pt x="0" y="50"/>
                  </a:lnTo>
                  <a:cubicBezTo>
                    <a:pt x="0" y="161"/>
                    <a:pt x="141" y="240"/>
                    <a:pt x="175" y="257"/>
                  </a:cubicBezTo>
                  <a:lnTo>
                    <a:pt x="175" y="300"/>
                  </a:lnTo>
                  <a:cubicBezTo>
                    <a:pt x="175" y="321"/>
                    <a:pt x="159" y="337"/>
                    <a:pt x="138" y="337"/>
                  </a:cubicBezTo>
                  <a:lnTo>
                    <a:pt x="113" y="337"/>
                  </a:lnTo>
                  <a:lnTo>
                    <a:pt x="113" y="387"/>
                  </a:lnTo>
                  <a:lnTo>
                    <a:pt x="288" y="387"/>
                  </a:lnTo>
                  <a:lnTo>
                    <a:pt x="288" y="337"/>
                  </a:lnTo>
                  <a:lnTo>
                    <a:pt x="263" y="337"/>
                  </a:lnTo>
                  <a:cubicBezTo>
                    <a:pt x="241" y="337"/>
                    <a:pt x="225" y="321"/>
                    <a:pt x="225" y="300"/>
                  </a:cubicBezTo>
                  <a:lnTo>
                    <a:pt x="225" y="257"/>
                  </a:lnTo>
                  <a:cubicBezTo>
                    <a:pt x="259" y="240"/>
                    <a:pt x="400" y="161"/>
                    <a:pt x="400" y="50"/>
                  </a:cubicBezTo>
                  <a:lnTo>
                    <a:pt x="400" y="37"/>
                  </a:lnTo>
                  <a:lnTo>
                    <a:pt x="324" y="37"/>
                  </a:lnTo>
                  <a:close/>
                  <a:moveTo>
                    <a:pt x="26" y="62"/>
                  </a:moveTo>
                  <a:lnTo>
                    <a:pt x="79" y="62"/>
                  </a:lnTo>
                  <a:cubicBezTo>
                    <a:pt x="84" y="118"/>
                    <a:pt x="98" y="158"/>
                    <a:pt x="113" y="187"/>
                  </a:cubicBezTo>
                  <a:cubicBezTo>
                    <a:pt x="73" y="156"/>
                    <a:pt x="31" y="112"/>
                    <a:pt x="26" y="62"/>
                  </a:cubicBezTo>
                  <a:close/>
                  <a:moveTo>
                    <a:pt x="289" y="187"/>
                  </a:moveTo>
                  <a:cubicBezTo>
                    <a:pt x="304" y="158"/>
                    <a:pt x="318" y="118"/>
                    <a:pt x="323" y="62"/>
                  </a:cubicBezTo>
                  <a:lnTo>
                    <a:pt x="375" y="62"/>
                  </a:lnTo>
                  <a:cubicBezTo>
                    <a:pt x="369" y="112"/>
                    <a:pt x="328" y="156"/>
                    <a:pt x="289" y="18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1A8E793-C327-4066-AD27-99553C098542}"/>
              </a:ext>
            </a:extLst>
          </p:cNvPr>
          <p:cNvGrpSpPr/>
          <p:nvPr/>
        </p:nvGrpSpPr>
        <p:grpSpPr>
          <a:xfrm>
            <a:off x="6460889" y="2977465"/>
            <a:ext cx="2373814" cy="975188"/>
            <a:chOff x="6460889" y="2977465"/>
            <a:chExt cx="2373814" cy="975188"/>
          </a:xfrm>
        </p:grpSpPr>
        <p:sp>
          <p:nvSpPr>
            <p:cNvPr id="80" name="ïşľíḋê"/>
            <p:cNvSpPr>
              <a:spLocks/>
            </p:cNvSpPr>
            <p:nvPr/>
          </p:nvSpPr>
          <p:spPr bwMode="auto">
            <a:xfrm>
              <a:off x="6460889" y="2977465"/>
              <a:ext cx="2373814" cy="975188"/>
            </a:xfrm>
            <a:prstGeom prst="rect">
              <a:avLst/>
            </a:prstGeom>
            <a:solidFill>
              <a:srgbClr val="E9554A"/>
            </a:solidFill>
            <a:ln w="25400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sz="2489" dirty="0">
                <a:latin typeface="微软雅黑" panose="020B0503020204020204" pitchFamily="34" charset="-122"/>
              </a:endParaRPr>
            </a:p>
          </p:txBody>
        </p:sp>
        <p:grpSp>
          <p:nvGrpSpPr>
            <p:cNvPr id="124" name="Competition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075AB45-016B-43FE-858E-CE7538553CE0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145148" y="3130542"/>
              <a:ext cx="1168757" cy="721148"/>
              <a:chOff x="3789363" y="6249988"/>
              <a:chExt cx="1044575" cy="644525"/>
            </a:xfrm>
            <a:solidFill>
              <a:schemeClr val="bg1"/>
            </a:solidFill>
          </p:grpSpPr>
          <p:sp>
            <p:nvSpPr>
              <p:cNvPr id="125" name="Freeform 210">
                <a:extLst>
                  <a:ext uri="{FF2B5EF4-FFF2-40B4-BE49-F238E27FC236}">
                    <a16:creationId xmlns:a16="http://schemas.microsoft.com/office/drawing/2014/main" id="{D5BD665B-4C15-49FC-A262-BE96F5069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7688" y="6686550"/>
                <a:ext cx="219075" cy="138113"/>
              </a:xfrm>
              <a:custGeom>
                <a:avLst/>
                <a:gdLst>
                  <a:gd name="T0" fmla="*/ 181 w 286"/>
                  <a:gd name="T1" fmla="*/ 57 h 182"/>
                  <a:gd name="T2" fmla="*/ 26 w 286"/>
                  <a:gd name="T3" fmla="*/ 106 h 182"/>
                  <a:gd name="T4" fmla="*/ 8 w 286"/>
                  <a:gd name="T5" fmla="*/ 150 h 182"/>
                  <a:gd name="T6" fmla="*/ 44 w 286"/>
                  <a:gd name="T7" fmla="*/ 182 h 182"/>
                  <a:gd name="T8" fmla="*/ 252 w 286"/>
                  <a:gd name="T9" fmla="*/ 136 h 182"/>
                  <a:gd name="T10" fmla="*/ 274 w 286"/>
                  <a:gd name="T11" fmla="*/ 116 h 182"/>
                  <a:gd name="T12" fmla="*/ 286 w 286"/>
                  <a:gd name="T13" fmla="*/ 85 h 182"/>
                  <a:gd name="T14" fmla="*/ 193 w 286"/>
                  <a:gd name="T15" fmla="*/ 0 h 182"/>
                  <a:gd name="T16" fmla="*/ 181 w 286"/>
                  <a:gd name="T17" fmla="*/ 5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182">
                    <a:moveTo>
                      <a:pt x="181" y="57"/>
                    </a:moveTo>
                    <a:lnTo>
                      <a:pt x="26" y="106"/>
                    </a:lnTo>
                    <a:cubicBezTo>
                      <a:pt x="26" y="106"/>
                      <a:pt x="0" y="117"/>
                      <a:pt x="8" y="150"/>
                    </a:cubicBezTo>
                    <a:cubicBezTo>
                      <a:pt x="15" y="180"/>
                      <a:pt x="37" y="182"/>
                      <a:pt x="44" y="182"/>
                    </a:cubicBezTo>
                    <a:lnTo>
                      <a:pt x="252" y="136"/>
                    </a:lnTo>
                    <a:cubicBezTo>
                      <a:pt x="261" y="134"/>
                      <a:pt x="271" y="125"/>
                      <a:pt x="274" y="116"/>
                    </a:cubicBezTo>
                    <a:lnTo>
                      <a:pt x="286" y="85"/>
                    </a:lnTo>
                    <a:lnTo>
                      <a:pt x="193" y="0"/>
                    </a:lnTo>
                    <a:lnTo>
                      <a:pt x="181" y="5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 211">
                <a:extLst>
                  <a:ext uri="{FF2B5EF4-FFF2-40B4-BE49-F238E27FC236}">
                    <a16:creationId xmlns:a16="http://schemas.microsoft.com/office/drawing/2014/main" id="{BF5CC587-9545-4693-952E-E3D36EB58E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2613" y="6380163"/>
                <a:ext cx="441325" cy="514350"/>
              </a:xfrm>
              <a:custGeom>
                <a:avLst/>
                <a:gdLst>
                  <a:gd name="T0" fmla="*/ 428 w 579"/>
                  <a:gd name="T1" fmla="*/ 194 h 675"/>
                  <a:gd name="T2" fmla="*/ 402 w 579"/>
                  <a:gd name="T3" fmla="*/ 72 h 675"/>
                  <a:gd name="T4" fmla="*/ 299 w 579"/>
                  <a:gd name="T5" fmla="*/ 6 h 675"/>
                  <a:gd name="T6" fmla="*/ 102 w 579"/>
                  <a:gd name="T7" fmla="*/ 40 h 675"/>
                  <a:gd name="T8" fmla="*/ 74 w 579"/>
                  <a:gd name="T9" fmla="*/ 67 h 675"/>
                  <a:gd name="T10" fmla="*/ 9 w 579"/>
                  <a:gd name="T11" fmla="*/ 193 h 675"/>
                  <a:gd name="T12" fmla="*/ 29 w 579"/>
                  <a:gd name="T13" fmla="*/ 235 h 675"/>
                  <a:gd name="T14" fmla="*/ 70 w 579"/>
                  <a:gd name="T15" fmla="*/ 228 h 675"/>
                  <a:gd name="T16" fmla="*/ 141 w 579"/>
                  <a:gd name="T17" fmla="*/ 117 h 675"/>
                  <a:gd name="T18" fmla="*/ 224 w 579"/>
                  <a:gd name="T19" fmla="*/ 122 h 675"/>
                  <a:gd name="T20" fmla="*/ 162 w 579"/>
                  <a:gd name="T21" fmla="*/ 269 h 675"/>
                  <a:gd name="T22" fmla="*/ 165 w 579"/>
                  <a:gd name="T23" fmla="*/ 366 h 675"/>
                  <a:gd name="T24" fmla="*/ 294 w 579"/>
                  <a:gd name="T25" fmla="*/ 486 h 675"/>
                  <a:gd name="T26" fmla="*/ 285 w 579"/>
                  <a:gd name="T27" fmla="*/ 627 h 675"/>
                  <a:gd name="T28" fmla="*/ 322 w 579"/>
                  <a:gd name="T29" fmla="*/ 672 h 675"/>
                  <a:gd name="T30" fmla="*/ 369 w 579"/>
                  <a:gd name="T31" fmla="*/ 629 h 675"/>
                  <a:gd name="T32" fmla="*/ 395 w 579"/>
                  <a:gd name="T33" fmla="*/ 443 h 675"/>
                  <a:gd name="T34" fmla="*/ 385 w 579"/>
                  <a:gd name="T35" fmla="*/ 416 h 675"/>
                  <a:gd name="T36" fmla="*/ 290 w 579"/>
                  <a:gd name="T37" fmla="*/ 323 h 675"/>
                  <a:gd name="T38" fmla="*/ 338 w 579"/>
                  <a:gd name="T39" fmla="*/ 217 h 675"/>
                  <a:gd name="T40" fmla="*/ 349 w 579"/>
                  <a:gd name="T41" fmla="*/ 255 h 675"/>
                  <a:gd name="T42" fmla="*/ 363 w 579"/>
                  <a:gd name="T43" fmla="*/ 271 h 675"/>
                  <a:gd name="T44" fmla="*/ 534 w 579"/>
                  <a:gd name="T45" fmla="*/ 324 h 675"/>
                  <a:gd name="T46" fmla="*/ 570 w 579"/>
                  <a:gd name="T47" fmla="*/ 301 h 675"/>
                  <a:gd name="T48" fmla="*/ 562 w 579"/>
                  <a:gd name="T49" fmla="*/ 261 h 675"/>
                  <a:gd name="T50" fmla="*/ 428 w 579"/>
                  <a:gd name="T51" fmla="*/ 194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9" h="675">
                    <a:moveTo>
                      <a:pt x="428" y="194"/>
                    </a:moveTo>
                    <a:cubicBezTo>
                      <a:pt x="428" y="194"/>
                      <a:pt x="411" y="106"/>
                      <a:pt x="402" y="72"/>
                    </a:cubicBezTo>
                    <a:cubicBezTo>
                      <a:pt x="389" y="23"/>
                      <a:pt x="330" y="0"/>
                      <a:pt x="299" y="6"/>
                    </a:cubicBezTo>
                    <a:lnTo>
                      <a:pt x="102" y="40"/>
                    </a:lnTo>
                    <a:cubicBezTo>
                      <a:pt x="88" y="43"/>
                      <a:pt x="81" y="55"/>
                      <a:pt x="74" y="67"/>
                    </a:cubicBezTo>
                    <a:lnTo>
                      <a:pt x="9" y="193"/>
                    </a:lnTo>
                    <a:cubicBezTo>
                      <a:pt x="9" y="193"/>
                      <a:pt x="0" y="218"/>
                      <a:pt x="29" y="235"/>
                    </a:cubicBezTo>
                    <a:cubicBezTo>
                      <a:pt x="44" y="243"/>
                      <a:pt x="62" y="240"/>
                      <a:pt x="70" y="228"/>
                    </a:cubicBezTo>
                    <a:lnTo>
                      <a:pt x="141" y="117"/>
                    </a:lnTo>
                    <a:lnTo>
                      <a:pt x="224" y="122"/>
                    </a:lnTo>
                    <a:lnTo>
                      <a:pt x="162" y="269"/>
                    </a:lnTo>
                    <a:cubicBezTo>
                      <a:pt x="154" y="292"/>
                      <a:pt x="139" y="337"/>
                      <a:pt x="165" y="366"/>
                    </a:cubicBezTo>
                    <a:lnTo>
                      <a:pt x="294" y="486"/>
                    </a:lnTo>
                    <a:lnTo>
                      <a:pt x="285" y="627"/>
                    </a:lnTo>
                    <a:cubicBezTo>
                      <a:pt x="282" y="662"/>
                      <a:pt x="302" y="670"/>
                      <a:pt x="322" y="672"/>
                    </a:cubicBezTo>
                    <a:cubicBezTo>
                      <a:pt x="351" y="675"/>
                      <a:pt x="365" y="663"/>
                      <a:pt x="369" y="629"/>
                    </a:cubicBezTo>
                    <a:lnTo>
                      <a:pt x="395" y="443"/>
                    </a:lnTo>
                    <a:cubicBezTo>
                      <a:pt x="397" y="434"/>
                      <a:pt x="392" y="421"/>
                      <a:pt x="385" y="416"/>
                    </a:cubicBezTo>
                    <a:lnTo>
                      <a:pt x="290" y="323"/>
                    </a:lnTo>
                    <a:lnTo>
                      <a:pt x="338" y="217"/>
                    </a:lnTo>
                    <a:lnTo>
                      <a:pt x="349" y="255"/>
                    </a:lnTo>
                    <a:cubicBezTo>
                      <a:pt x="351" y="261"/>
                      <a:pt x="356" y="269"/>
                      <a:pt x="363" y="271"/>
                    </a:cubicBezTo>
                    <a:cubicBezTo>
                      <a:pt x="409" y="288"/>
                      <a:pt x="534" y="324"/>
                      <a:pt x="534" y="324"/>
                    </a:cubicBezTo>
                    <a:cubicBezTo>
                      <a:pt x="546" y="327"/>
                      <a:pt x="563" y="319"/>
                      <a:pt x="570" y="301"/>
                    </a:cubicBezTo>
                    <a:cubicBezTo>
                      <a:pt x="579" y="278"/>
                      <a:pt x="562" y="261"/>
                      <a:pt x="562" y="261"/>
                    </a:cubicBezTo>
                    <a:lnTo>
                      <a:pt x="428" y="194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 212">
                <a:extLst>
                  <a:ext uri="{FF2B5EF4-FFF2-40B4-BE49-F238E27FC236}">
                    <a16:creationId xmlns:a16="http://schemas.microsoft.com/office/drawing/2014/main" id="{8FEEF4DC-81B8-465B-A70D-124D12F65F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963" y="6538913"/>
                <a:ext cx="220663" cy="188913"/>
              </a:xfrm>
              <a:custGeom>
                <a:avLst/>
                <a:gdLst>
                  <a:gd name="T0" fmla="*/ 281 w 288"/>
                  <a:gd name="T1" fmla="*/ 81 h 248"/>
                  <a:gd name="T2" fmla="*/ 68 w 288"/>
                  <a:gd name="T3" fmla="*/ 2 h 248"/>
                  <a:gd name="T4" fmla="*/ 56 w 288"/>
                  <a:gd name="T5" fmla="*/ 8 h 248"/>
                  <a:gd name="T6" fmla="*/ 2 w 288"/>
                  <a:gd name="T7" fmla="*/ 155 h 248"/>
                  <a:gd name="T8" fmla="*/ 7 w 288"/>
                  <a:gd name="T9" fmla="*/ 167 h 248"/>
                  <a:gd name="T10" fmla="*/ 221 w 288"/>
                  <a:gd name="T11" fmla="*/ 246 h 248"/>
                  <a:gd name="T12" fmla="*/ 232 w 288"/>
                  <a:gd name="T13" fmla="*/ 240 h 248"/>
                  <a:gd name="T14" fmla="*/ 287 w 288"/>
                  <a:gd name="T15" fmla="*/ 93 h 248"/>
                  <a:gd name="T16" fmla="*/ 281 w 288"/>
                  <a:gd name="T17" fmla="*/ 81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8" h="248">
                    <a:moveTo>
                      <a:pt x="281" y="81"/>
                    </a:moveTo>
                    <a:lnTo>
                      <a:pt x="68" y="2"/>
                    </a:lnTo>
                    <a:cubicBezTo>
                      <a:pt x="63" y="0"/>
                      <a:pt x="58" y="3"/>
                      <a:pt x="56" y="8"/>
                    </a:cubicBezTo>
                    <a:lnTo>
                      <a:pt x="2" y="155"/>
                    </a:lnTo>
                    <a:cubicBezTo>
                      <a:pt x="0" y="160"/>
                      <a:pt x="3" y="165"/>
                      <a:pt x="7" y="167"/>
                    </a:cubicBezTo>
                    <a:lnTo>
                      <a:pt x="221" y="246"/>
                    </a:lnTo>
                    <a:cubicBezTo>
                      <a:pt x="226" y="248"/>
                      <a:pt x="231" y="245"/>
                      <a:pt x="232" y="240"/>
                    </a:cubicBezTo>
                    <a:lnTo>
                      <a:pt x="287" y="93"/>
                    </a:lnTo>
                    <a:cubicBezTo>
                      <a:pt x="288" y="88"/>
                      <a:pt x="286" y="83"/>
                      <a:pt x="281" y="8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Oval 213">
                <a:extLst>
                  <a:ext uri="{FF2B5EF4-FFF2-40B4-BE49-F238E27FC236}">
                    <a16:creationId xmlns:a16="http://schemas.microsoft.com/office/drawing/2014/main" id="{BC1EF4F5-3F47-44A9-87D9-472F2254AB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1851" y="6249988"/>
                <a:ext cx="141288" cy="14128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 214">
                <a:extLst>
                  <a:ext uri="{FF2B5EF4-FFF2-40B4-BE49-F238E27FC236}">
                    <a16:creationId xmlns:a16="http://schemas.microsoft.com/office/drawing/2014/main" id="{6233A5C6-635A-4E25-8515-8C8C2D2E0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2251" y="6627813"/>
                <a:ext cx="111125" cy="265113"/>
              </a:xfrm>
              <a:custGeom>
                <a:avLst/>
                <a:gdLst>
                  <a:gd name="T0" fmla="*/ 58 w 146"/>
                  <a:gd name="T1" fmla="*/ 346 h 348"/>
                  <a:gd name="T2" fmla="*/ 103 w 146"/>
                  <a:gd name="T3" fmla="*/ 326 h 348"/>
                  <a:gd name="T4" fmla="*/ 144 w 146"/>
                  <a:gd name="T5" fmla="*/ 122 h 348"/>
                  <a:gd name="T6" fmla="*/ 135 w 146"/>
                  <a:gd name="T7" fmla="*/ 94 h 348"/>
                  <a:gd name="T8" fmla="*/ 45 w 146"/>
                  <a:gd name="T9" fmla="*/ 0 h 348"/>
                  <a:gd name="T10" fmla="*/ 0 w 146"/>
                  <a:gd name="T11" fmla="*/ 119 h 348"/>
                  <a:gd name="T12" fmla="*/ 42 w 146"/>
                  <a:gd name="T13" fmla="*/ 160 h 348"/>
                  <a:gd name="T14" fmla="*/ 25 w 146"/>
                  <a:gd name="T15" fmla="*/ 313 h 348"/>
                  <a:gd name="T16" fmla="*/ 58 w 146"/>
                  <a:gd name="T17" fmla="*/ 346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6" h="348">
                    <a:moveTo>
                      <a:pt x="58" y="346"/>
                    </a:moveTo>
                    <a:cubicBezTo>
                      <a:pt x="79" y="348"/>
                      <a:pt x="100" y="342"/>
                      <a:pt x="103" y="326"/>
                    </a:cubicBezTo>
                    <a:lnTo>
                      <a:pt x="144" y="122"/>
                    </a:lnTo>
                    <a:cubicBezTo>
                      <a:pt x="146" y="113"/>
                      <a:pt x="142" y="100"/>
                      <a:pt x="135" y="94"/>
                    </a:cubicBezTo>
                    <a:lnTo>
                      <a:pt x="45" y="0"/>
                    </a:lnTo>
                    <a:lnTo>
                      <a:pt x="0" y="119"/>
                    </a:lnTo>
                    <a:lnTo>
                      <a:pt x="42" y="160"/>
                    </a:lnTo>
                    <a:lnTo>
                      <a:pt x="25" y="313"/>
                    </a:lnTo>
                    <a:cubicBezTo>
                      <a:pt x="25" y="313"/>
                      <a:pt x="25" y="341"/>
                      <a:pt x="58" y="34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 215">
                <a:extLst>
                  <a:ext uri="{FF2B5EF4-FFF2-40B4-BE49-F238E27FC236}">
                    <a16:creationId xmlns:a16="http://schemas.microsoft.com/office/drawing/2014/main" id="{338FC4C8-6687-41ED-BA64-57170C7AE8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9363" y="6384925"/>
                <a:ext cx="463550" cy="409575"/>
              </a:xfrm>
              <a:custGeom>
                <a:avLst/>
                <a:gdLst>
                  <a:gd name="T0" fmla="*/ 266 w 609"/>
                  <a:gd name="T1" fmla="*/ 464 h 537"/>
                  <a:gd name="T2" fmla="*/ 324 w 609"/>
                  <a:gd name="T3" fmla="*/ 307 h 537"/>
                  <a:gd name="T4" fmla="*/ 377 w 609"/>
                  <a:gd name="T5" fmla="*/ 207 h 537"/>
                  <a:gd name="T6" fmla="*/ 384 w 609"/>
                  <a:gd name="T7" fmla="*/ 255 h 537"/>
                  <a:gd name="T8" fmla="*/ 402 w 609"/>
                  <a:gd name="T9" fmla="*/ 278 h 537"/>
                  <a:gd name="T10" fmla="*/ 564 w 609"/>
                  <a:gd name="T11" fmla="*/ 352 h 537"/>
                  <a:gd name="T12" fmla="*/ 598 w 609"/>
                  <a:gd name="T13" fmla="*/ 330 h 537"/>
                  <a:gd name="T14" fmla="*/ 592 w 609"/>
                  <a:gd name="T15" fmla="*/ 293 h 537"/>
                  <a:gd name="T16" fmla="*/ 471 w 609"/>
                  <a:gd name="T17" fmla="*/ 207 h 537"/>
                  <a:gd name="T18" fmla="*/ 462 w 609"/>
                  <a:gd name="T19" fmla="*/ 57 h 537"/>
                  <a:gd name="T20" fmla="*/ 462 w 609"/>
                  <a:gd name="T21" fmla="*/ 57 h 537"/>
                  <a:gd name="T22" fmla="*/ 391 w 609"/>
                  <a:gd name="T23" fmla="*/ 2 h 537"/>
                  <a:gd name="T24" fmla="*/ 162 w 609"/>
                  <a:gd name="T25" fmla="*/ 7 h 537"/>
                  <a:gd name="T26" fmla="*/ 142 w 609"/>
                  <a:gd name="T27" fmla="*/ 25 h 537"/>
                  <a:gd name="T28" fmla="*/ 107 w 609"/>
                  <a:gd name="T29" fmla="*/ 197 h 537"/>
                  <a:gd name="T30" fmla="*/ 135 w 609"/>
                  <a:gd name="T31" fmla="*/ 225 h 537"/>
                  <a:gd name="T32" fmla="*/ 170 w 609"/>
                  <a:gd name="T33" fmla="*/ 214 h 537"/>
                  <a:gd name="T34" fmla="*/ 205 w 609"/>
                  <a:gd name="T35" fmla="*/ 95 h 537"/>
                  <a:gd name="T36" fmla="*/ 279 w 609"/>
                  <a:gd name="T37" fmla="*/ 105 h 537"/>
                  <a:gd name="T38" fmla="*/ 200 w 609"/>
                  <a:gd name="T39" fmla="*/ 243 h 537"/>
                  <a:gd name="T40" fmla="*/ 171 w 609"/>
                  <a:gd name="T41" fmla="*/ 408 h 537"/>
                  <a:gd name="T42" fmla="*/ 26 w 609"/>
                  <a:gd name="T43" fmla="*/ 458 h 537"/>
                  <a:gd name="T44" fmla="*/ 9 w 609"/>
                  <a:gd name="T45" fmla="*/ 502 h 537"/>
                  <a:gd name="T46" fmla="*/ 48 w 609"/>
                  <a:gd name="T47" fmla="*/ 533 h 537"/>
                  <a:gd name="T48" fmla="*/ 245 w 609"/>
                  <a:gd name="T49" fmla="*/ 484 h 537"/>
                  <a:gd name="T50" fmla="*/ 266 w 609"/>
                  <a:gd name="T51" fmla="*/ 464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9" h="537">
                    <a:moveTo>
                      <a:pt x="266" y="464"/>
                    </a:moveTo>
                    <a:lnTo>
                      <a:pt x="324" y="307"/>
                    </a:lnTo>
                    <a:lnTo>
                      <a:pt x="377" y="207"/>
                    </a:lnTo>
                    <a:lnTo>
                      <a:pt x="384" y="255"/>
                    </a:lnTo>
                    <a:cubicBezTo>
                      <a:pt x="385" y="265"/>
                      <a:pt x="393" y="274"/>
                      <a:pt x="402" y="278"/>
                    </a:cubicBezTo>
                    <a:lnTo>
                      <a:pt x="564" y="352"/>
                    </a:lnTo>
                    <a:cubicBezTo>
                      <a:pt x="573" y="357"/>
                      <a:pt x="587" y="351"/>
                      <a:pt x="598" y="330"/>
                    </a:cubicBezTo>
                    <a:cubicBezTo>
                      <a:pt x="609" y="308"/>
                      <a:pt x="592" y="293"/>
                      <a:pt x="592" y="293"/>
                    </a:cubicBezTo>
                    <a:lnTo>
                      <a:pt x="471" y="207"/>
                    </a:lnTo>
                    <a:lnTo>
                      <a:pt x="462" y="57"/>
                    </a:lnTo>
                    <a:lnTo>
                      <a:pt x="462" y="57"/>
                    </a:lnTo>
                    <a:cubicBezTo>
                      <a:pt x="460" y="37"/>
                      <a:pt x="433" y="3"/>
                      <a:pt x="391" y="2"/>
                    </a:cubicBezTo>
                    <a:cubicBezTo>
                      <a:pt x="334" y="0"/>
                      <a:pt x="162" y="7"/>
                      <a:pt x="162" y="7"/>
                    </a:cubicBezTo>
                    <a:cubicBezTo>
                      <a:pt x="153" y="8"/>
                      <a:pt x="144" y="15"/>
                      <a:pt x="142" y="25"/>
                    </a:cubicBezTo>
                    <a:lnTo>
                      <a:pt x="107" y="197"/>
                    </a:lnTo>
                    <a:cubicBezTo>
                      <a:pt x="107" y="197"/>
                      <a:pt x="106" y="219"/>
                      <a:pt x="135" y="225"/>
                    </a:cubicBezTo>
                    <a:cubicBezTo>
                      <a:pt x="148" y="228"/>
                      <a:pt x="167" y="225"/>
                      <a:pt x="170" y="214"/>
                    </a:cubicBezTo>
                    <a:lnTo>
                      <a:pt x="205" y="95"/>
                    </a:lnTo>
                    <a:lnTo>
                      <a:pt x="279" y="105"/>
                    </a:lnTo>
                    <a:lnTo>
                      <a:pt x="200" y="243"/>
                    </a:lnTo>
                    <a:lnTo>
                      <a:pt x="171" y="408"/>
                    </a:lnTo>
                    <a:lnTo>
                      <a:pt x="26" y="458"/>
                    </a:lnTo>
                    <a:cubicBezTo>
                      <a:pt x="26" y="458"/>
                      <a:pt x="0" y="469"/>
                      <a:pt x="9" y="502"/>
                    </a:cubicBezTo>
                    <a:cubicBezTo>
                      <a:pt x="14" y="522"/>
                      <a:pt x="31" y="537"/>
                      <a:pt x="48" y="533"/>
                    </a:cubicBezTo>
                    <a:lnTo>
                      <a:pt x="245" y="484"/>
                    </a:lnTo>
                    <a:cubicBezTo>
                      <a:pt x="254" y="482"/>
                      <a:pt x="263" y="473"/>
                      <a:pt x="266" y="4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 216">
                <a:extLst>
                  <a:ext uri="{FF2B5EF4-FFF2-40B4-BE49-F238E27FC236}">
                    <a16:creationId xmlns:a16="http://schemas.microsoft.com/office/drawing/2014/main" id="{88029E25-D4FF-4015-9E25-EBC4A3F33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5276" y="6259513"/>
                <a:ext cx="152400" cy="152400"/>
              </a:xfrm>
              <a:custGeom>
                <a:avLst/>
                <a:gdLst>
                  <a:gd name="T0" fmla="*/ 93 w 201"/>
                  <a:gd name="T1" fmla="*/ 197 h 201"/>
                  <a:gd name="T2" fmla="*/ 197 w 201"/>
                  <a:gd name="T3" fmla="*/ 108 h 201"/>
                  <a:gd name="T4" fmla="*/ 108 w 201"/>
                  <a:gd name="T5" fmla="*/ 4 h 201"/>
                  <a:gd name="T6" fmla="*/ 4 w 201"/>
                  <a:gd name="T7" fmla="*/ 93 h 201"/>
                  <a:gd name="T8" fmla="*/ 93 w 201"/>
                  <a:gd name="T9" fmla="*/ 197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201">
                    <a:moveTo>
                      <a:pt x="93" y="197"/>
                    </a:moveTo>
                    <a:cubicBezTo>
                      <a:pt x="146" y="201"/>
                      <a:pt x="193" y="162"/>
                      <a:pt x="197" y="108"/>
                    </a:cubicBezTo>
                    <a:cubicBezTo>
                      <a:pt x="201" y="55"/>
                      <a:pt x="161" y="8"/>
                      <a:pt x="108" y="4"/>
                    </a:cubicBezTo>
                    <a:cubicBezTo>
                      <a:pt x="55" y="0"/>
                      <a:pt x="8" y="40"/>
                      <a:pt x="4" y="93"/>
                    </a:cubicBezTo>
                    <a:cubicBezTo>
                      <a:pt x="0" y="147"/>
                      <a:pt x="40" y="193"/>
                      <a:pt x="93" y="19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AA70BA-58BA-4794-8966-995F582F8C98}"/>
              </a:ext>
            </a:extLst>
          </p:cNvPr>
          <p:cNvGrpSpPr/>
          <p:nvPr/>
        </p:nvGrpSpPr>
        <p:grpSpPr>
          <a:xfrm>
            <a:off x="4721669" y="3420019"/>
            <a:ext cx="2373814" cy="975188"/>
            <a:chOff x="4721669" y="3420019"/>
            <a:chExt cx="2373814" cy="975188"/>
          </a:xfrm>
        </p:grpSpPr>
        <p:sp>
          <p:nvSpPr>
            <p:cNvPr id="78" name="îšḷide"/>
            <p:cNvSpPr>
              <a:spLocks/>
            </p:cNvSpPr>
            <p:nvPr/>
          </p:nvSpPr>
          <p:spPr bwMode="auto">
            <a:xfrm>
              <a:off x="4721669" y="3420019"/>
              <a:ext cx="2373814" cy="975188"/>
            </a:xfrm>
            <a:prstGeom prst="rect">
              <a:avLst/>
            </a:prstGeom>
            <a:solidFill>
              <a:srgbClr val="2E2E3F"/>
            </a:solidFill>
            <a:ln w="25400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sz="2489" dirty="0">
                <a:latin typeface="微软雅黑" panose="020B0503020204020204" pitchFamily="34" charset="-122"/>
              </a:endParaRPr>
            </a:p>
          </p:txBody>
        </p:sp>
        <p:pic>
          <p:nvPicPr>
            <p:cNvPr id="12" name="Graphic 11" descr="Run with solid fill">
              <a:extLst>
                <a:ext uri="{FF2B5EF4-FFF2-40B4-BE49-F238E27FC236}">
                  <a16:creationId xmlns:a16="http://schemas.microsoft.com/office/drawing/2014/main" id="{5F60DFE5-D6DD-49E9-A66C-6FAFCBF88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47810" y="3552677"/>
              <a:ext cx="799952" cy="799952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9B9F308-47D2-4EF6-85CE-41CB0F46AEA8}"/>
              </a:ext>
            </a:extLst>
          </p:cNvPr>
          <p:cNvGrpSpPr/>
          <p:nvPr/>
        </p:nvGrpSpPr>
        <p:grpSpPr>
          <a:xfrm>
            <a:off x="2987853" y="3867972"/>
            <a:ext cx="2373814" cy="975188"/>
            <a:chOff x="2987853" y="3867972"/>
            <a:chExt cx="2373814" cy="975188"/>
          </a:xfrm>
        </p:grpSpPr>
        <p:sp>
          <p:nvSpPr>
            <p:cNvPr id="76" name="îṩḷïḑe"/>
            <p:cNvSpPr>
              <a:spLocks/>
            </p:cNvSpPr>
            <p:nvPr/>
          </p:nvSpPr>
          <p:spPr bwMode="auto">
            <a:xfrm>
              <a:off x="2987853" y="3867972"/>
              <a:ext cx="2373814" cy="975188"/>
            </a:xfrm>
            <a:prstGeom prst="rect">
              <a:avLst/>
            </a:prstGeom>
            <a:solidFill>
              <a:srgbClr val="E9554A"/>
            </a:solidFill>
            <a:ln w="25400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sz="2489" dirty="0">
                <a:latin typeface="微软雅黑" panose="020B0503020204020204" pitchFamily="34" charset="-122"/>
              </a:endParaRPr>
            </a:p>
          </p:txBody>
        </p:sp>
        <p:pic>
          <p:nvPicPr>
            <p:cNvPr id="10" name="Graphic 9" descr="Walk with solid fill">
              <a:extLst>
                <a:ext uri="{FF2B5EF4-FFF2-40B4-BE49-F238E27FC236}">
                  <a16:creationId xmlns:a16="http://schemas.microsoft.com/office/drawing/2014/main" id="{5048F81B-CF84-46E7-B6F2-A055647D3E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725540" y="3932729"/>
              <a:ext cx="749277" cy="749277"/>
            </a:xfrm>
            <a:prstGeom prst="rect">
              <a:avLst/>
            </a:prstGeom>
          </p:spPr>
        </p:pic>
      </p:grpSp>
      <p:grpSp>
        <p:nvGrpSpPr>
          <p:cNvPr id="2" name="组 1"/>
          <p:cNvGrpSpPr/>
          <p:nvPr/>
        </p:nvGrpSpPr>
        <p:grpSpPr>
          <a:xfrm>
            <a:off x="545904" y="434553"/>
            <a:ext cx="5259932" cy="744346"/>
            <a:chOff x="5567083" y="1156447"/>
            <a:chExt cx="5259932" cy="744346"/>
          </a:xfrm>
        </p:grpSpPr>
        <p:sp>
          <p:nvSpPr>
            <p:cNvPr id="3" name="矩形 2"/>
            <p:cNvSpPr/>
            <p:nvPr/>
          </p:nvSpPr>
          <p:spPr>
            <a:xfrm>
              <a:off x="5567083" y="1156447"/>
              <a:ext cx="111822" cy="744346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A2F78B57-7465-44A8-9891-07E030845F5A}"/>
                </a:ext>
              </a:extLst>
            </p:cNvPr>
            <p:cNvSpPr txBox="1"/>
            <p:nvPr/>
          </p:nvSpPr>
          <p:spPr>
            <a:xfrm>
              <a:off x="5809141" y="1176640"/>
              <a:ext cx="50178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r>
                <a:rPr lang="en-US" altLang="zh-CN" sz="2800" b="1" spc="300" dirty="0" err="1">
                  <a:solidFill>
                    <a:srgbClr val="2E2E3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Bold" pitchFamily="2" charset="0"/>
                  <a:ea typeface="微软雅黑"/>
                  <a:cs typeface="SVN-Gotham Bold" pitchFamily="2" charset="0"/>
                </a:rPr>
                <a:t>Phân</a:t>
              </a:r>
              <a:r>
                <a:rPr lang="en-US" altLang="zh-CN" sz="2800" b="1" spc="300" dirty="0">
                  <a:solidFill>
                    <a:srgbClr val="2E2E3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Bold" pitchFamily="2" charset="0"/>
                  <a:ea typeface="微软雅黑"/>
                  <a:cs typeface="SVN-Gotham Bold" pitchFamily="2" charset="0"/>
                </a:rPr>
                <a:t> Chia </a:t>
              </a:r>
              <a:r>
                <a:rPr lang="en-US" altLang="zh-CN" sz="2800" b="1" spc="300" dirty="0" err="1">
                  <a:solidFill>
                    <a:srgbClr val="2E2E3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Bold" pitchFamily="2" charset="0"/>
                  <a:ea typeface="微软雅黑"/>
                  <a:cs typeface="SVN-Gotham Bold" pitchFamily="2" charset="0"/>
                </a:rPr>
                <a:t>Công</a:t>
              </a:r>
              <a:r>
                <a:rPr lang="en-US" altLang="zh-CN" sz="2800" b="1" spc="300" dirty="0">
                  <a:solidFill>
                    <a:srgbClr val="2E2E3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Bold" pitchFamily="2" charset="0"/>
                  <a:ea typeface="微软雅黑"/>
                  <a:cs typeface="SVN-Gotham Bold" pitchFamily="2" charset="0"/>
                </a:rPr>
                <a:t> </a:t>
              </a:r>
              <a:r>
                <a:rPr lang="en-US" altLang="zh-CN" sz="2800" b="1" spc="300" dirty="0" err="1">
                  <a:solidFill>
                    <a:srgbClr val="2E2E3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Bold" pitchFamily="2" charset="0"/>
                  <a:ea typeface="微软雅黑"/>
                  <a:cs typeface="SVN-Gotham Bold" pitchFamily="2" charset="0"/>
                </a:rPr>
                <a:t>Việc</a:t>
              </a:r>
              <a:endParaRPr lang="id-ID" altLang="zh-CN" sz="2800" b="1" spc="300" dirty="0">
                <a:solidFill>
                  <a:srgbClr val="2E2E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微软雅黑"/>
                <a:cs typeface="SVN-Gotham Bold" pitchFamily="2" charset="0"/>
              </a:endParaRPr>
            </a:p>
          </p:txBody>
        </p:sp>
      </p:grpSp>
      <p:cxnSp>
        <p:nvCxnSpPr>
          <p:cNvPr id="64" name="Straight Connector 13"/>
          <p:cNvCxnSpPr>
            <a:cxnSpLocks/>
          </p:cNvCxnSpPr>
          <p:nvPr/>
        </p:nvCxnSpPr>
        <p:spPr>
          <a:xfrm flipV="1">
            <a:off x="2202890" y="3665187"/>
            <a:ext cx="0" cy="494658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 type="none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20"/>
          <p:cNvCxnSpPr>
            <a:cxnSpLocks/>
          </p:cNvCxnSpPr>
          <p:nvPr/>
        </p:nvCxnSpPr>
        <p:spPr>
          <a:xfrm flipV="1">
            <a:off x="4006450" y="2789262"/>
            <a:ext cx="0" cy="949168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 type="none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24"/>
          <p:cNvCxnSpPr/>
          <p:nvPr/>
        </p:nvCxnSpPr>
        <p:spPr>
          <a:xfrm>
            <a:off x="7936630" y="4354137"/>
            <a:ext cx="0" cy="659699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 type="none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28"/>
          <p:cNvCxnSpPr/>
          <p:nvPr/>
        </p:nvCxnSpPr>
        <p:spPr>
          <a:xfrm>
            <a:off x="9664627" y="3568904"/>
            <a:ext cx="0" cy="659699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 type="none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32"/>
          <p:cNvCxnSpPr>
            <a:cxnSpLocks/>
          </p:cNvCxnSpPr>
          <p:nvPr/>
        </p:nvCxnSpPr>
        <p:spPr>
          <a:xfrm flipV="1">
            <a:off x="5937030" y="2148840"/>
            <a:ext cx="0" cy="1161278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 type="none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íŝ1ïḓê"/>
          <p:cNvSpPr>
            <a:spLocks/>
          </p:cNvSpPr>
          <p:nvPr/>
        </p:nvSpPr>
        <p:spPr bwMode="auto">
          <a:xfrm>
            <a:off x="2188080" y="4627564"/>
            <a:ext cx="195116" cy="97559"/>
          </a:xfrm>
          <a:custGeom>
            <a:avLst/>
            <a:gdLst>
              <a:gd name="T0" fmla="*/ 32 w 32"/>
              <a:gd name="T1" fmla="*/ 8 h 16"/>
              <a:gd name="T2" fmla="*/ 24 w 32"/>
              <a:gd name="T3" fmla="*/ 8 h 16"/>
              <a:gd name="T4" fmla="*/ 16 w 32"/>
              <a:gd name="T5" fmla="*/ 0 h 16"/>
              <a:gd name="T6" fmla="*/ 8 w 32"/>
              <a:gd name="T7" fmla="*/ 8 h 16"/>
              <a:gd name="T8" fmla="*/ 0 w 32"/>
              <a:gd name="T9" fmla="*/ 8 h 16"/>
              <a:gd name="T10" fmla="*/ 0 w 32"/>
              <a:gd name="T11" fmla="*/ 16 h 16"/>
              <a:gd name="T12" fmla="*/ 32 w 32"/>
              <a:gd name="T13" fmla="*/ 16 h 16"/>
              <a:gd name="T14" fmla="*/ 32 w 32"/>
              <a:gd name="T15" fmla="*/ 8 h 16"/>
              <a:gd name="T16" fmla="*/ 16 w 32"/>
              <a:gd name="T17" fmla="*/ 12 h 16"/>
              <a:gd name="T18" fmla="*/ 12 w 32"/>
              <a:gd name="T19" fmla="*/ 8 h 16"/>
              <a:gd name="T20" fmla="*/ 16 w 32"/>
              <a:gd name="T21" fmla="*/ 4 h 16"/>
              <a:gd name="T22" fmla="*/ 20 w 32"/>
              <a:gd name="T23" fmla="*/ 8 h 16"/>
              <a:gd name="T24" fmla="*/ 16 w 32"/>
              <a:gd name="T25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2" h="16">
                <a:moveTo>
                  <a:pt x="32" y="8"/>
                </a:moveTo>
                <a:cubicBezTo>
                  <a:pt x="24" y="8"/>
                  <a:pt x="24" y="8"/>
                  <a:pt x="24" y="8"/>
                </a:cubicBezTo>
                <a:cubicBezTo>
                  <a:pt x="24" y="4"/>
                  <a:pt x="20" y="0"/>
                  <a:pt x="16" y="0"/>
                </a:cubicBezTo>
                <a:cubicBezTo>
                  <a:pt x="12" y="0"/>
                  <a:pt x="8" y="4"/>
                  <a:pt x="8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16"/>
                  <a:pt x="0" y="16"/>
                  <a:pt x="0" y="16"/>
                </a:cubicBezTo>
                <a:cubicBezTo>
                  <a:pt x="32" y="16"/>
                  <a:pt x="32" y="16"/>
                  <a:pt x="32" y="16"/>
                </a:cubicBezTo>
                <a:lnTo>
                  <a:pt x="32" y="8"/>
                </a:lnTo>
                <a:close/>
                <a:moveTo>
                  <a:pt x="16" y="12"/>
                </a:moveTo>
                <a:cubicBezTo>
                  <a:pt x="14" y="12"/>
                  <a:pt x="12" y="10"/>
                  <a:pt x="12" y="8"/>
                </a:cubicBezTo>
                <a:cubicBezTo>
                  <a:pt x="12" y="6"/>
                  <a:pt x="14" y="4"/>
                  <a:pt x="16" y="4"/>
                </a:cubicBezTo>
                <a:cubicBezTo>
                  <a:pt x="18" y="4"/>
                  <a:pt x="20" y="6"/>
                  <a:pt x="20" y="8"/>
                </a:cubicBezTo>
                <a:cubicBezTo>
                  <a:pt x="20" y="10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40" tIns="45720" rIns="91440" bIns="45720" anchor="ctr"/>
          <a:lstStyle/>
          <a:p>
            <a:pPr algn="ctr"/>
            <a:endParaRPr sz="2489" dirty="0">
              <a:latin typeface="微软雅黑" panose="020B0503020204020204" pitchFamily="34" charset="-122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B0BEFBC-7EEA-4EB2-846E-A783D666E426}"/>
              </a:ext>
            </a:extLst>
          </p:cNvPr>
          <p:cNvGrpSpPr/>
          <p:nvPr/>
        </p:nvGrpSpPr>
        <p:grpSpPr>
          <a:xfrm>
            <a:off x="1259856" y="4315924"/>
            <a:ext cx="2373814" cy="975188"/>
            <a:chOff x="1259856" y="4315924"/>
            <a:chExt cx="2373814" cy="975188"/>
          </a:xfrm>
        </p:grpSpPr>
        <p:sp>
          <p:nvSpPr>
            <p:cNvPr id="74" name="islide"/>
            <p:cNvSpPr>
              <a:spLocks/>
            </p:cNvSpPr>
            <p:nvPr/>
          </p:nvSpPr>
          <p:spPr bwMode="auto">
            <a:xfrm>
              <a:off x="1259856" y="4315924"/>
              <a:ext cx="2373814" cy="975188"/>
            </a:xfrm>
            <a:prstGeom prst="rect">
              <a:avLst/>
            </a:prstGeom>
            <a:solidFill>
              <a:srgbClr val="2E2E3F"/>
            </a:solidFill>
            <a:ln w="25400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sz="2489" dirty="0">
                <a:latin typeface="微软雅黑" panose="020B0503020204020204" pitchFamily="34" charset="-122"/>
              </a:endParaRPr>
            </a:p>
          </p:txBody>
        </p:sp>
        <p:pic>
          <p:nvPicPr>
            <p:cNvPr id="8" name="Graphic 7" descr="Crawl with solid fill">
              <a:extLst>
                <a:ext uri="{FF2B5EF4-FFF2-40B4-BE49-F238E27FC236}">
                  <a16:creationId xmlns:a16="http://schemas.microsoft.com/office/drawing/2014/main" id="{C1DB4F78-E8F6-4147-861A-0DDA4B208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81331" y="4401554"/>
              <a:ext cx="820397" cy="820397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0A69AFB-58E9-48B2-9997-F8F82F5B863B}"/>
              </a:ext>
            </a:extLst>
          </p:cNvPr>
          <p:cNvSpPr txBox="1"/>
          <p:nvPr/>
        </p:nvSpPr>
        <p:spPr>
          <a:xfrm>
            <a:off x="280811" y="3047649"/>
            <a:ext cx="28011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Trần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Hi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Hữu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Phước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46BDAEE-0C66-4D8F-917B-AD087F447B87}"/>
              </a:ext>
            </a:extLst>
          </p:cNvPr>
          <p:cNvSpPr txBox="1"/>
          <p:nvPr/>
        </p:nvSpPr>
        <p:spPr>
          <a:xfrm>
            <a:off x="3035438" y="2186364"/>
            <a:ext cx="18557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Trần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Gia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Bảo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83B1360-12AB-4D32-A8A9-E9C0F670E697}"/>
              </a:ext>
            </a:extLst>
          </p:cNvPr>
          <p:cNvSpPr txBox="1"/>
          <p:nvPr/>
        </p:nvSpPr>
        <p:spPr>
          <a:xfrm>
            <a:off x="8777777" y="4382157"/>
            <a:ext cx="29323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Diệp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Ông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Đại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Quang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5445825-82AF-43E9-86AA-8F40876C837D}"/>
              </a:ext>
            </a:extLst>
          </p:cNvPr>
          <p:cNvSpPr txBox="1"/>
          <p:nvPr/>
        </p:nvSpPr>
        <p:spPr>
          <a:xfrm>
            <a:off x="6639284" y="5132025"/>
            <a:ext cx="25949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Trần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Thanh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Tùng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A2D1ADC-EAEC-40C3-AFAF-2AD9A78580BA}"/>
              </a:ext>
            </a:extLst>
          </p:cNvPr>
          <p:cNvSpPr txBox="1"/>
          <p:nvPr/>
        </p:nvSpPr>
        <p:spPr>
          <a:xfrm>
            <a:off x="4904333" y="1537191"/>
            <a:ext cx="2650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Nguyễn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Hoàng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 Nhi</a:t>
            </a:r>
          </a:p>
        </p:txBody>
      </p:sp>
    </p:spTree>
    <p:extLst>
      <p:ext uri="{BB962C8B-B14F-4D97-AF65-F5344CB8AC3E}">
        <p14:creationId xmlns:p14="http://schemas.microsoft.com/office/powerpoint/2010/main" val="183361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7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6" grpId="0"/>
      <p:bldP spid="45" grpId="0"/>
      <p:bldP spid="46" grpId="0"/>
      <p:bldP spid="47" grpId="0"/>
      <p:bldP spid="4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7F2BC55A-5CDC-4ADB-9E47-8D06D28374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50000"/>
          <a:stretch/>
        </p:blipFill>
        <p:spPr>
          <a:xfrm>
            <a:off x="-232405" y="57094"/>
            <a:ext cx="9037192" cy="65886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B824566-AC5E-4915-9A50-423D1EC62073}"/>
              </a:ext>
            </a:extLst>
          </p:cNvPr>
          <p:cNvSpPr txBox="1"/>
          <p:nvPr/>
        </p:nvSpPr>
        <p:spPr>
          <a:xfrm>
            <a:off x="9351482" y="456520"/>
            <a:ext cx="2219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Sách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46FD7D-687C-463E-AB62-B0B932A8F21B}"/>
              </a:ext>
            </a:extLst>
          </p:cNvPr>
          <p:cNvCxnSpPr/>
          <p:nvPr/>
        </p:nvCxnSpPr>
        <p:spPr>
          <a:xfrm>
            <a:off x="9915362" y="952121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233F0E01-D0D3-422C-A510-BED5456064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65911" y="2579433"/>
            <a:ext cx="3128544" cy="2357967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F2CCB55-61CE-4B25-A78F-CE22922372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4000"/>
          <a:stretch/>
        </p:blipFill>
        <p:spPr>
          <a:xfrm>
            <a:off x="241168" y="145917"/>
            <a:ext cx="8090045" cy="6411044"/>
          </a:xfrm>
          <a:prstGeom prst="rect">
            <a:avLst/>
          </a:prstGeom>
        </p:spPr>
      </p:pic>
      <p:sp>
        <p:nvSpPr>
          <p:cNvPr id="12" name="三角形 20">
            <a:extLst>
              <a:ext uri="{FF2B5EF4-FFF2-40B4-BE49-F238E27FC236}">
                <a16:creationId xmlns:a16="http://schemas.microsoft.com/office/drawing/2014/main" id="{F4A46E2B-E364-43DD-8351-816CF895BC0B}"/>
              </a:ext>
            </a:extLst>
          </p:cNvPr>
          <p:cNvSpPr/>
          <p:nvPr/>
        </p:nvSpPr>
        <p:spPr>
          <a:xfrm rot="15369999" flipH="1">
            <a:off x="11043937" y="41195"/>
            <a:ext cx="1540006" cy="859041"/>
          </a:xfrm>
          <a:prstGeom prst="triangle">
            <a:avLst/>
          </a:pr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20726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2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63007AC-3320-4B64-81EB-D38A278DAE1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50000"/>
          <a:stretch/>
        </p:blipFill>
        <p:spPr>
          <a:xfrm>
            <a:off x="3989433" y="359633"/>
            <a:ext cx="8202567" cy="64983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CB0F6A-3222-4226-965E-F91D9A06F03B}"/>
              </a:ext>
            </a:extLst>
          </p:cNvPr>
          <p:cNvSpPr txBox="1"/>
          <p:nvPr/>
        </p:nvSpPr>
        <p:spPr>
          <a:xfrm>
            <a:off x="598413" y="647928"/>
            <a:ext cx="38248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Khách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Hàng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51C9C4-97F6-4634-AB8A-969E9127EC06}"/>
              </a:ext>
            </a:extLst>
          </p:cNvPr>
          <p:cNvCxnSpPr/>
          <p:nvPr/>
        </p:nvCxnSpPr>
        <p:spPr>
          <a:xfrm>
            <a:off x="644132" y="1155313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24550CA8-6C8F-48E1-AA60-F68AC1C894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5538" y="3128954"/>
            <a:ext cx="2490788" cy="1877293"/>
          </a:xfrm>
          <a:prstGeom prst="rect">
            <a:avLst/>
          </a:prstGeom>
        </p:spPr>
      </p:pic>
      <p:sp>
        <p:nvSpPr>
          <p:cNvPr id="10" name="三角形 20">
            <a:extLst>
              <a:ext uri="{FF2B5EF4-FFF2-40B4-BE49-F238E27FC236}">
                <a16:creationId xmlns:a16="http://schemas.microsoft.com/office/drawing/2014/main" id="{3AC774FF-6322-4F46-B18E-A457A39A3333}"/>
              </a:ext>
            </a:extLst>
          </p:cNvPr>
          <p:cNvSpPr/>
          <p:nvPr/>
        </p:nvSpPr>
        <p:spPr>
          <a:xfrm rot="6230001">
            <a:off x="-452562" y="604492"/>
            <a:ext cx="1150658" cy="641856"/>
          </a:xfrm>
          <a:prstGeom prst="triangle">
            <a:avLst/>
          </a:pr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5891DE2-BAF6-469F-9D51-ADD3A7CB700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3238"/>
          <a:stretch/>
        </p:blipFill>
        <p:spPr>
          <a:xfrm>
            <a:off x="3652812" y="226835"/>
            <a:ext cx="8352375" cy="6726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00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B824566-AC5E-4915-9A50-423D1EC62073}"/>
              </a:ext>
            </a:extLst>
          </p:cNvPr>
          <p:cNvSpPr txBox="1"/>
          <p:nvPr/>
        </p:nvSpPr>
        <p:spPr>
          <a:xfrm>
            <a:off x="7567082" y="476621"/>
            <a:ext cx="30142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Nhập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Sách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46FD7D-687C-463E-AB62-B0B932A8F21B}"/>
              </a:ext>
            </a:extLst>
          </p:cNvPr>
          <p:cNvCxnSpPr/>
          <p:nvPr/>
        </p:nvCxnSpPr>
        <p:spPr>
          <a:xfrm>
            <a:off x="9351482" y="952121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233F0E01-D0D3-422C-A510-BED5456064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3482" y="180087"/>
            <a:ext cx="2078518" cy="156656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C67D4F0-CCA1-4136-84F0-7C397D72BC6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3125"/>
          <a:stretch/>
        </p:blipFill>
        <p:spPr>
          <a:xfrm>
            <a:off x="412651" y="1039942"/>
            <a:ext cx="8120798" cy="581805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A42BD99-68B1-47DD-9975-5DC665DFE4A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7548" b="11522"/>
          <a:stretch/>
        </p:blipFill>
        <p:spPr>
          <a:xfrm>
            <a:off x="267987" y="1035956"/>
            <a:ext cx="8410126" cy="5818058"/>
          </a:xfrm>
          <a:prstGeom prst="rect">
            <a:avLst/>
          </a:prstGeom>
        </p:spPr>
      </p:pic>
      <p:sp>
        <p:nvSpPr>
          <p:cNvPr id="12" name="三角形 20">
            <a:extLst>
              <a:ext uri="{FF2B5EF4-FFF2-40B4-BE49-F238E27FC236}">
                <a16:creationId xmlns:a16="http://schemas.microsoft.com/office/drawing/2014/main" id="{0A4D2D72-3242-4A36-B0AF-124A512353EF}"/>
              </a:ext>
            </a:extLst>
          </p:cNvPr>
          <p:cNvSpPr/>
          <p:nvPr/>
        </p:nvSpPr>
        <p:spPr>
          <a:xfrm rot="6230001">
            <a:off x="-452562" y="604492"/>
            <a:ext cx="1150658" cy="641856"/>
          </a:xfrm>
          <a:prstGeom prst="triangle">
            <a:avLst/>
          </a:pr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1358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2829A7-0B05-4B25-ACC9-B9F4BD72C1B3}"/>
              </a:ext>
            </a:extLst>
          </p:cNvPr>
          <p:cNvSpPr txBox="1"/>
          <p:nvPr/>
        </p:nvSpPr>
        <p:spPr>
          <a:xfrm>
            <a:off x="571947" y="589242"/>
            <a:ext cx="30142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Quản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Lý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Nhân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Viên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31A42F0-205A-4D76-BFC5-CB75884065E0}"/>
              </a:ext>
            </a:extLst>
          </p:cNvPr>
          <p:cNvCxnSpPr/>
          <p:nvPr/>
        </p:nvCxnSpPr>
        <p:spPr>
          <a:xfrm>
            <a:off x="674457" y="1064742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D2BE185C-800F-4258-B55B-9E455E03056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52418"/>
          <a:stretch/>
        </p:blipFill>
        <p:spPr>
          <a:xfrm>
            <a:off x="4197246" y="463786"/>
            <a:ext cx="7994754" cy="639421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A733F95-246A-454A-8122-1D7C2A15E3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2466351"/>
            <a:ext cx="3867150" cy="291465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312BED32-12A1-45CA-A8FC-55F49E2ECA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2500"/>
          <a:stretch/>
        </p:blipFill>
        <p:spPr>
          <a:xfrm>
            <a:off x="4099885" y="384897"/>
            <a:ext cx="7994753" cy="6405249"/>
          </a:xfrm>
          <a:prstGeom prst="rect">
            <a:avLst/>
          </a:prstGeom>
        </p:spPr>
      </p:pic>
      <p:sp>
        <p:nvSpPr>
          <p:cNvPr id="10" name="三角形 20">
            <a:extLst>
              <a:ext uri="{FF2B5EF4-FFF2-40B4-BE49-F238E27FC236}">
                <a16:creationId xmlns:a16="http://schemas.microsoft.com/office/drawing/2014/main" id="{D7DF5A08-646B-4A7F-92D9-02A1B214B5F6}"/>
              </a:ext>
            </a:extLst>
          </p:cNvPr>
          <p:cNvSpPr/>
          <p:nvPr/>
        </p:nvSpPr>
        <p:spPr>
          <a:xfrm rot="6230001">
            <a:off x="-452562" y="604492"/>
            <a:ext cx="1150658" cy="641856"/>
          </a:xfrm>
          <a:prstGeom prst="triangle">
            <a:avLst/>
          </a:prstGeom>
          <a:blipFill dpi="0" rotWithShape="0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4944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itting at a desk with several monitors&#10;&#10;Description automatically generated with low confidence">
            <a:extLst>
              <a:ext uri="{FF2B5EF4-FFF2-40B4-BE49-F238E27FC236}">
                <a16:creationId xmlns:a16="http://schemas.microsoft.com/office/drawing/2014/main" id="{1448D925-9A46-4AEF-9009-9B57C5852E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090"/>
            <a:ext cx="12192000" cy="6858000"/>
          </a:xfrm>
          <a:prstGeom prst="rect">
            <a:avLst/>
          </a:prstGeom>
        </p:spPr>
      </p:pic>
      <p:sp>
        <p:nvSpPr>
          <p:cNvPr id="7" name="任意形状 6"/>
          <p:cNvSpPr/>
          <p:nvPr/>
        </p:nvSpPr>
        <p:spPr>
          <a:xfrm rot="10800000" flipH="1" flipV="1">
            <a:off x="1815588" y="-22136"/>
            <a:ext cx="10376412" cy="6919225"/>
          </a:xfrm>
          <a:custGeom>
            <a:avLst/>
            <a:gdLst>
              <a:gd name="connsiteX0" fmla="*/ 4177553 w 4177553"/>
              <a:gd name="connsiteY0" fmla="*/ 3013636 h 3013636"/>
              <a:gd name="connsiteX1" fmla="*/ 2743200 w 4177553"/>
              <a:gd name="connsiteY1" fmla="*/ 3013636 h 3013636"/>
              <a:gd name="connsiteX2" fmla="*/ 0 w 4177553"/>
              <a:gd name="connsiteY2" fmla="*/ 648808 h 3013636"/>
              <a:gd name="connsiteX3" fmla="*/ 0 w 4177553"/>
              <a:gd name="connsiteY3" fmla="*/ 0 h 3013636"/>
              <a:gd name="connsiteX4" fmla="*/ 4177553 w 4177553"/>
              <a:gd name="connsiteY4" fmla="*/ 0 h 3013636"/>
              <a:gd name="connsiteX5" fmla="*/ 4177553 w 4177553"/>
              <a:gd name="connsiteY5" fmla="*/ 3013636 h 3013636"/>
              <a:gd name="connsiteX0" fmla="*/ 4183429 w 4183429"/>
              <a:gd name="connsiteY0" fmla="*/ 3013636 h 3013636"/>
              <a:gd name="connsiteX1" fmla="*/ 2749076 w 4183429"/>
              <a:gd name="connsiteY1" fmla="*/ 3013636 h 3013636"/>
              <a:gd name="connsiteX2" fmla="*/ 0 w 4183429"/>
              <a:gd name="connsiteY2" fmla="*/ 319774 h 3013636"/>
              <a:gd name="connsiteX3" fmla="*/ 5876 w 4183429"/>
              <a:gd name="connsiteY3" fmla="*/ 0 h 3013636"/>
              <a:gd name="connsiteX4" fmla="*/ 4183429 w 4183429"/>
              <a:gd name="connsiteY4" fmla="*/ 0 h 3013636"/>
              <a:gd name="connsiteX5" fmla="*/ 4183429 w 4183429"/>
              <a:gd name="connsiteY5" fmla="*/ 3013636 h 3013636"/>
              <a:gd name="connsiteX0" fmla="*/ 4533903 w 4533903"/>
              <a:gd name="connsiteY0" fmla="*/ 3023308 h 3023308"/>
              <a:gd name="connsiteX1" fmla="*/ 3099550 w 4533903"/>
              <a:gd name="connsiteY1" fmla="*/ 3023308 h 3023308"/>
              <a:gd name="connsiteX2" fmla="*/ 0 w 4533903"/>
              <a:gd name="connsiteY2" fmla="*/ 0 h 3023308"/>
              <a:gd name="connsiteX3" fmla="*/ 356350 w 4533903"/>
              <a:gd name="connsiteY3" fmla="*/ 9672 h 3023308"/>
              <a:gd name="connsiteX4" fmla="*/ 4533903 w 4533903"/>
              <a:gd name="connsiteY4" fmla="*/ 9672 h 3023308"/>
              <a:gd name="connsiteX5" fmla="*/ 4533903 w 4533903"/>
              <a:gd name="connsiteY5" fmla="*/ 3023308 h 302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33903" h="3023308">
                <a:moveTo>
                  <a:pt x="4533903" y="3023308"/>
                </a:moveTo>
                <a:lnTo>
                  <a:pt x="3099550" y="3023308"/>
                </a:lnTo>
                <a:lnTo>
                  <a:pt x="0" y="0"/>
                </a:lnTo>
                <a:lnTo>
                  <a:pt x="356350" y="9672"/>
                </a:lnTo>
                <a:lnTo>
                  <a:pt x="4533903" y="9672"/>
                </a:lnTo>
                <a:lnTo>
                  <a:pt x="4533903" y="3023308"/>
                </a:lnTo>
                <a:close/>
              </a:path>
            </a:pathLst>
          </a:cu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三角形 2"/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4" name="三角形 3"/>
          <p:cNvSpPr/>
          <p:nvPr/>
        </p:nvSpPr>
        <p:spPr>
          <a:xfrm>
            <a:off x="0" y="4537416"/>
            <a:ext cx="2743200" cy="236482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/>
          <p:cNvSpPr/>
          <p:nvPr/>
        </p:nvSpPr>
        <p:spPr>
          <a:xfrm rot="5400000">
            <a:off x="6596459" y="3830695"/>
            <a:ext cx="94130" cy="898234"/>
          </a:xfrm>
          <a:prstGeom prst="rect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C968E5-8EB4-43F3-972A-F3821F1F9DB3}"/>
              </a:ext>
            </a:extLst>
          </p:cNvPr>
          <p:cNvSpPr txBox="1"/>
          <p:nvPr/>
        </p:nvSpPr>
        <p:spPr>
          <a:xfrm>
            <a:off x="5656003" y="3151807"/>
            <a:ext cx="54113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Kiểm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Thử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Phần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Mềm</a:t>
            </a:r>
            <a:endParaRPr lang="en-US" sz="36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D3EB4B3-A99B-44A1-B9AF-EAB213DB47F1}"/>
              </a:ext>
            </a:extLst>
          </p:cNvPr>
          <p:cNvGrpSpPr/>
          <p:nvPr/>
        </p:nvGrpSpPr>
        <p:grpSpPr>
          <a:xfrm>
            <a:off x="7909560" y="1328669"/>
            <a:ext cx="1600200" cy="1118663"/>
            <a:chOff x="7909560" y="1328669"/>
            <a:chExt cx="1600200" cy="1118663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2F78B57-7465-44A8-9891-07E030845F5A}"/>
                </a:ext>
              </a:extLst>
            </p:cNvPr>
            <p:cNvSpPr txBox="1"/>
            <p:nvPr/>
          </p:nvSpPr>
          <p:spPr>
            <a:xfrm>
              <a:off x="7935404" y="1328669"/>
              <a:ext cx="1574356" cy="106215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6000" b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ea typeface="Avenir Book Oblique" charset="0"/>
                  <a:cs typeface="Times New Roman" panose="02020603050405020304" pitchFamily="18" charset="0"/>
                </a:rPr>
                <a:t> V</a:t>
              </a:r>
              <a:endParaRPr kumimoji="0" lang="zh-CN" altLang="en-US" sz="60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Avenir Book Oblique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AEA34AD-05C2-4EF1-8556-BD4F4070513B}"/>
                </a:ext>
              </a:extLst>
            </p:cNvPr>
            <p:cNvSpPr/>
            <p:nvPr/>
          </p:nvSpPr>
          <p:spPr>
            <a:xfrm>
              <a:off x="7909560" y="1328669"/>
              <a:ext cx="1118663" cy="1118663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0548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4" grpId="0" animBg="1"/>
      <p:bldP spid="9" grpId="0" animBg="1"/>
      <p:bldP spid="5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1F7EA987-0C6E-4880-92D9-62CBA89E8E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0661070"/>
              </p:ext>
            </p:extLst>
          </p:nvPr>
        </p:nvGraphicFramePr>
        <p:xfrm>
          <a:off x="231139" y="2087880"/>
          <a:ext cx="11729721" cy="419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Worksheet" r:id="rId3" imgW="12868281" imgH="2790770" progId="Excel.Sheet.12">
                  <p:embed/>
                </p:oleObj>
              </mc:Choice>
              <mc:Fallback>
                <p:oleObj name="Worksheet" r:id="rId3" imgW="12868281" imgH="279077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1139" y="2087880"/>
                        <a:ext cx="11729721" cy="4191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112410E-C818-44EA-916D-5BD880FADE1B}"/>
              </a:ext>
            </a:extLst>
          </p:cNvPr>
          <p:cNvSpPr txBox="1"/>
          <p:nvPr/>
        </p:nvSpPr>
        <p:spPr>
          <a:xfrm>
            <a:off x="4153347" y="579120"/>
            <a:ext cx="30142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SVN-Gotham Bold" pitchFamily="2" charset="0"/>
                <a:cs typeface="SVN-Gotham Bold" pitchFamily="2" charset="0"/>
              </a:rPr>
              <a:t>Form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Đăng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Nhập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9EE1E65-8FEF-4B11-A6AA-729BAD40C224}"/>
              </a:ext>
            </a:extLst>
          </p:cNvPr>
          <p:cNvCxnSpPr/>
          <p:nvPr/>
        </p:nvCxnSpPr>
        <p:spPr>
          <a:xfrm>
            <a:off x="4572000" y="1024950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3A440642-6803-4C55-8D0F-7D351998C6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00225" y="-179214"/>
            <a:ext cx="2543175" cy="191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719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112410E-C818-44EA-916D-5BD880FADE1B}"/>
              </a:ext>
            </a:extLst>
          </p:cNvPr>
          <p:cNvSpPr txBox="1"/>
          <p:nvPr/>
        </p:nvSpPr>
        <p:spPr>
          <a:xfrm>
            <a:off x="4153347" y="579120"/>
            <a:ext cx="30142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SVN-Gotham Bold" pitchFamily="2" charset="0"/>
                <a:cs typeface="SVN-Gotham Bold" pitchFamily="2" charset="0"/>
              </a:rPr>
              <a:t>Form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Đổi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Mật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Khẩu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9EE1E65-8FEF-4B11-A6AA-729BAD40C224}"/>
              </a:ext>
            </a:extLst>
          </p:cNvPr>
          <p:cNvCxnSpPr/>
          <p:nvPr/>
        </p:nvCxnSpPr>
        <p:spPr>
          <a:xfrm>
            <a:off x="4572000" y="1024950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3A440642-6803-4C55-8D0F-7D351998C6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00225" y="-179214"/>
            <a:ext cx="2543175" cy="1916777"/>
          </a:xfrm>
          <a:prstGeom prst="rect">
            <a:avLst/>
          </a:prstGeom>
        </p:spPr>
      </p:pic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E8DDCE56-97EC-45E4-AA88-2511BF2F1D5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27815211"/>
              </p:ext>
            </p:extLst>
          </p:nvPr>
        </p:nvGraphicFramePr>
        <p:xfrm>
          <a:off x="1000869" y="1396729"/>
          <a:ext cx="9660646" cy="5290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Worksheet" r:id="rId5" imgW="12868281" imgH="7048676" progId="Excel.Sheet.12">
                  <p:embed/>
                </p:oleObj>
              </mc:Choice>
              <mc:Fallback>
                <p:oleObj name="Worksheet" r:id="rId5" imgW="12868281" imgH="704867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00869" y="1396729"/>
                        <a:ext cx="9660646" cy="52907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65245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112410E-C818-44EA-916D-5BD880FADE1B}"/>
              </a:ext>
            </a:extLst>
          </p:cNvPr>
          <p:cNvSpPr txBox="1"/>
          <p:nvPr/>
        </p:nvSpPr>
        <p:spPr>
          <a:xfrm>
            <a:off x="4153347" y="579120"/>
            <a:ext cx="30142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SVN-Gotham Bold" pitchFamily="2" charset="0"/>
                <a:cs typeface="SVN-Gotham Bold" pitchFamily="2" charset="0"/>
              </a:rPr>
              <a:t>Form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Nhập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Sách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9EE1E65-8FEF-4B11-A6AA-729BAD40C224}"/>
              </a:ext>
            </a:extLst>
          </p:cNvPr>
          <p:cNvCxnSpPr/>
          <p:nvPr/>
        </p:nvCxnSpPr>
        <p:spPr>
          <a:xfrm>
            <a:off x="4572000" y="1024950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3A440642-6803-4C55-8D0F-7D351998C6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00225" y="-179214"/>
            <a:ext cx="2543175" cy="1916777"/>
          </a:xfrm>
          <a:prstGeom prst="rect">
            <a:avLst/>
          </a:prstGeom>
        </p:spPr>
      </p:pic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01F10B1C-D7C5-4249-B716-80D1669B778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99393081"/>
              </p:ext>
            </p:extLst>
          </p:nvPr>
        </p:nvGraphicFramePr>
        <p:xfrm>
          <a:off x="786859" y="1575888"/>
          <a:ext cx="11019587" cy="49997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Worksheet" r:id="rId5" imgW="12868281" imgH="5838814" progId="Excel.Sheet.12">
                  <p:embed/>
                </p:oleObj>
              </mc:Choice>
              <mc:Fallback>
                <p:oleObj name="Worksheet" r:id="rId5" imgW="12868281" imgH="583881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86859" y="1575888"/>
                        <a:ext cx="11019587" cy="49997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92635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112410E-C818-44EA-916D-5BD880FADE1B}"/>
              </a:ext>
            </a:extLst>
          </p:cNvPr>
          <p:cNvSpPr txBox="1"/>
          <p:nvPr/>
        </p:nvSpPr>
        <p:spPr>
          <a:xfrm>
            <a:off x="4153347" y="579120"/>
            <a:ext cx="30142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SVN-Gotham Bold" pitchFamily="2" charset="0"/>
                <a:cs typeface="SVN-Gotham Bold" pitchFamily="2" charset="0"/>
              </a:rPr>
              <a:t>Form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Bán</a:t>
            </a:r>
            <a:r>
              <a:rPr lang="en-US" sz="20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latin typeface="SVN-Gotham Bold" pitchFamily="2" charset="0"/>
                <a:cs typeface="SVN-Gotham Bold" pitchFamily="2" charset="0"/>
              </a:rPr>
              <a:t>Sách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9EE1E65-8FEF-4B11-A6AA-729BAD40C224}"/>
              </a:ext>
            </a:extLst>
          </p:cNvPr>
          <p:cNvCxnSpPr/>
          <p:nvPr/>
        </p:nvCxnSpPr>
        <p:spPr>
          <a:xfrm>
            <a:off x="4572000" y="1024950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3A440642-6803-4C55-8D0F-7D351998C6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00225" y="-179214"/>
            <a:ext cx="2543175" cy="1916777"/>
          </a:xfrm>
          <a:prstGeom prst="rect">
            <a:avLst/>
          </a:prstGeom>
        </p:spPr>
      </p:pic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3323CE8B-2435-4C31-A2CC-3B07419F5F4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2997259"/>
              </p:ext>
            </p:extLst>
          </p:nvPr>
        </p:nvGraphicFramePr>
        <p:xfrm>
          <a:off x="539095" y="1439863"/>
          <a:ext cx="10242785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Worksheet" r:id="rId5" imgW="12868281" imgH="8924914" progId="Excel.Sheet.12">
                  <p:embed/>
                </p:oleObj>
              </mc:Choice>
              <mc:Fallback>
                <p:oleObj name="Worksheet" r:id="rId5" imgW="12868281" imgH="892491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9095" y="1439863"/>
                        <a:ext cx="10242785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6881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Two people shaking hands&#10;&#10;Description automatically generated">
            <a:extLst>
              <a:ext uri="{FF2B5EF4-FFF2-40B4-BE49-F238E27FC236}">
                <a16:creationId xmlns:a16="http://schemas.microsoft.com/office/drawing/2014/main" id="{958E3A3A-2422-49DB-A671-9B5D2BD9BA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4274"/>
            <a:ext cx="12192000" cy="7619152"/>
          </a:xfrm>
          <a:prstGeom prst="rect">
            <a:avLst/>
          </a:prstGeom>
        </p:spPr>
      </p:pic>
      <p:sp>
        <p:nvSpPr>
          <p:cNvPr id="7" name="任意形状 6"/>
          <p:cNvSpPr/>
          <p:nvPr/>
        </p:nvSpPr>
        <p:spPr>
          <a:xfrm rot="10800000" flipH="1" flipV="1">
            <a:off x="1815588" y="-22136"/>
            <a:ext cx="10376412" cy="6919225"/>
          </a:xfrm>
          <a:custGeom>
            <a:avLst/>
            <a:gdLst>
              <a:gd name="connsiteX0" fmla="*/ 4177553 w 4177553"/>
              <a:gd name="connsiteY0" fmla="*/ 3013636 h 3013636"/>
              <a:gd name="connsiteX1" fmla="*/ 2743200 w 4177553"/>
              <a:gd name="connsiteY1" fmla="*/ 3013636 h 3013636"/>
              <a:gd name="connsiteX2" fmla="*/ 0 w 4177553"/>
              <a:gd name="connsiteY2" fmla="*/ 648808 h 3013636"/>
              <a:gd name="connsiteX3" fmla="*/ 0 w 4177553"/>
              <a:gd name="connsiteY3" fmla="*/ 0 h 3013636"/>
              <a:gd name="connsiteX4" fmla="*/ 4177553 w 4177553"/>
              <a:gd name="connsiteY4" fmla="*/ 0 h 3013636"/>
              <a:gd name="connsiteX5" fmla="*/ 4177553 w 4177553"/>
              <a:gd name="connsiteY5" fmla="*/ 3013636 h 3013636"/>
              <a:gd name="connsiteX0" fmla="*/ 4183429 w 4183429"/>
              <a:gd name="connsiteY0" fmla="*/ 3013636 h 3013636"/>
              <a:gd name="connsiteX1" fmla="*/ 2749076 w 4183429"/>
              <a:gd name="connsiteY1" fmla="*/ 3013636 h 3013636"/>
              <a:gd name="connsiteX2" fmla="*/ 0 w 4183429"/>
              <a:gd name="connsiteY2" fmla="*/ 319774 h 3013636"/>
              <a:gd name="connsiteX3" fmla="*/ 5876 w 4183429"/>
              <a:gd name="connsiteY3" fmla="*/ 0 h 3013636"/>
              <a:gd name="connsiteX4" fmla="*/ 4183429 w 4183429"/>
              <a:gd name="connsiteY4" fmla="*/ 0 h 3013636"/>
              <a:gd name="connsiteX5" fmla="*/ 4183429 w 4183429"/>
              <a:gd name="connsiteY5" fmla="*/ 3013636 h 3013636"/>
              <a:gd name="connsiteX0" fmla="*/ 4533903 w 4533903"/>
              <a:gd name="connsiteY0" fmla="*/ 3023308 h 3023308"/>
              <a:gd name="connsiteX1" fmla="*/ 3099550 w 4533903"/>
              <a:gd name="connsiteY1" fmla="*/ 3023308 h 3023308"/>
              <a:gd name="connsiteX2" fmla="*/ 0 w 4533903"/>
              <a:gd name="connsiteY2" fmla="*/ 0 h 3023308"/>
              <a:gd name="connsiteX3" fmla="*/ 356350 w 4533903"/>
              <a:gd name="connsiteY3" fmla="*/ 9672 h 3023308"/>
              <a:gd name="connsiteX4" fmla="*/ 4533903 w 4533903"/>
              <a:gd name="connsiteY4" fmla="*/ 9672 h 3023308"/>
              <a:gd name="connsiteX5" fmla="*/ 4533903 w 4533903"/>
              <a:gd name="connsiteY5" fmla="*/ 3023308 h 302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33903" h="3023308">
                <a:moveTo>
                  <a:pt x="4533903" y="3023308"/>
                </a:moveTo>
                <a:lnTo>
                  <a:pt x="3099550" y="3023308"/>
                </a:lnTo>
                <a:lnTo>
                  <a:pt x="0" y="0"/>
                </a:lnTo>
                <a:lnTo>
                  <a:pt x="356350" y="9672"/>
                </a:lnTo>
                <a:lnTo>
                  <a:pt x="4533903" y="9672"/>
                </a:lnTo>
                <a:lnTo>
                  <a:pt x="4533903" y="3023308"/>
                </a:lnTo>
                <a:close/>
              </a:path>
            </a:pathLst>
          </a:cu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三角形 2"/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4" name="三角形 3"/>
          <p:cNvSpPr/>
          <p:nvPr/>
        </p:nvSpPr>
        <p:spPr>
          <a:xfrm>
            <a:off x="0" y="4493172"/>
            <a:ext cx="2743200" cy="236482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/>
          <p:cNvSpPr/>
          <p:nvPr/>
        </p:nvSpPr>
        <p:spPr>
          <a:xfrm rot="5400000">
            <a:off x="6596459" y="3830695"/>
            <a:ext cx="94130" cy="898234"/>
          </a:xfrm>
          <a:prstGeom prst="rect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C968E5-8EB4-43F3-972A-F3821F1F9DB3}"/>
              </a:ext>
            </a:extLst>
          </p:cNvPr>
          <p:cNvSpPr txBox="1"/>
          <p:nvPr/>
        </p:nvSpPr>
        <p:spPr>
          <a:xfrm>
            <a:off x="5945562" y="3186551"/>
            <a:ext cx="58501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Thuận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ợi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và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Khó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Khăn</a:t>
            </a:r>
            <a:endParaRPr lang="en-US" sz="2000" dirty="0">
              <a:solidFill>
                <a:schemeClr val="bg1"/>
              </a:solidFill>
              <a:latin typeface="SVN-Gotham Light" pitchFamily="2" charset="0"/>
              <a:cs typeface="SVN-Gotham Light" pitchFamily="2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D3EB4B3-A99B-44A1-B9AF-EAB213DB47F1}"/>
              </a:ext>
            </a:extLst>
          </p:cNvPr>
          <p:cNvGrpSpPr/>
          <p:nvPr/>
        </p:nvGrpSpPr>
        <p:grpSpPr>
          <a:xfrm>
            <a:off x="7783004" y="1328669"/>
            <a:ext cx="1574356" cy="1118663"/>
            <a:chOff x="7783004" y="1328669"/>
            <a:chExt cx="1574356" cy="1118663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2F78B57-7465-44A8-9891-07E030845F5A}"/>
                </a:ext>
              </a:extLst>
            </p:cNvPr>
            <p:cNvSpPr txBox="1"/>
            <p:nvPr/>
          </p:nvSpPr>
          <p:spPr>
            <a:xfrm>
              <a:off x="7783004" y="1328669"/>
              <a:ext cx="1574356" cy="106215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6000" b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ea typeface="Avenir Book Oblique" charset="0"/>
                  <a:cs typeface="Times New Roman" panose="02020603050405020304" pitchFamily="18" charset="0"/>
                </a:rPr>
                <a:t> VI</a:t>
              </a:r>
              <a:endParaRPr kumimoji="0" lang="zh-CN" altLang="en-US" sz="60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Avenir Book Oblique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AEA34AD-05C2-4EF1-8556-BD4F4070513B}"/>
                </a:ext>
              </a:extLst>
            </p:cNvPr>
            <p:cNvSpPr/>
            <p:nvPr/>
          </p:nvSpPr>
          <p:spPr>
            <a:xfrm>
              <a:off x="7909560" y="1328669"/>
              <a:ext cx="1118663" cy="1118663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9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4" grpId="0" animBg="1"/>
      <p:bldP spid="9" grpId="0" animBg="1"/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三角形 1">
            <a:extLst>
              <a:ext uri="{FF2B5EF4-FFF2-40B4-BE49-F238E27FC236}">
                <a16:creationId xmlns:a16="http://schemas.microsoft.com/office/drawing/2014/main" id="{CBA145E6-FCC9-411A-8171-2E6DD5CEFD7B}"/>
              </a:ext>
            </a:extLst>
          </p:cNvPr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3" name="三角形 2">
            <a:extLst>
              <a:ext uri="{FF2B5EF4-FFF2-40B4-BE49-F238E27FC236}">
                <a16:creationId xmlns:a16="http://schemas.microsoft.com/office/drawing/2014/main" id="{50B2C581-38C5-4CA9-B8FB-D0E06305D036}"/>
              </a:ext>
            </a:extLst>
          </p:cNvPr>
          <p:cNvSpPr/>
          <p:nvPr/>
        </p:nvSpPr>
        <p:spPr>
          <a:xfrm>
            <a:off x="0" y="5240146"/>
            <a:ext cx="1876709" cy="1617853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6586A48A-2CD8-40F0-8A10-83AD38C07C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0358" y="2853361"/>
            <a:ext cx="5266829" cy="3950122"/>
          </a:xfrm>
          <a:prstGeom prst="rect">
            <a:avLst/>
          </a:prstGeom>
        </p:spPr>
      </p:pic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CA98206E-6449-470D-8D5A-E2450713B674}"/>
              </a:ext>
            </a:extLst>
          </p:cNvPr>
          <p:cNvSpPr/>
          <p:nvPr/>
        </p:nvSpPr>
        <p:spPr>
          <a:xfrm rot="10800000">
            <a:off x="1491119" y="1148597"/>
            <a:ext cx="639762" cy="550863"/>
          </a:xfrm>
          <a:prstGeom prst="triangle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9D366270-FF53-467D-8763-39747511CF96}"/>
              </a:ext>
            </a:extLst>
          </p:cNvPr>
          <p:cNvSpPr/>
          <p:nvPr/>
        </p:nvSpPr>
        <p:spPr>
          <a:xfrm rot="10800000">
            <a:off x="1491119" y="2037597"/>
            <a:ext cx="639762" cy="550863"/>
          </a:xfrm>
          <a:prstGeom prst="triangle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7767364-FD45-4DF3-ABCC-1F2B132C5892}"/>
              </a:ext>
            </a:extLst>
          </p:cNvPr>
          <p:cNvSpPr/>
          <p:nvPr/>
        </p:nvSpPr>
        <p:spPr>
          <a:xfrm rot="10800000">
            <a:off x="1491119" y="2926597"/>
            <a:ext cx="639762" cy="550863"/>
          </a:xfrm>
          <a:prstGeom prst="triangle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9F20A309-14FC-4253-BE3A-BDA43569C81B}"/>
              </a:ext>
            </a:extLst>
          </p:cNvPr>
          <p:cNvSpPr/>
          <p:nvPr/>
        </p:nvSpPr>
        <p:spPr>
          <a:xfrm rot="10800000">
            <a:off x="1491119" y="3815597"/>
            <a:ext cx="639762" cy="550863"/>
          </a:xfrm>
          <a:prstGeom prst="triangle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E2306E8-FCD2-4A34-84D8-624744DD3FFB}"/>
              </a:ext>
            </a:extLst>
          </p:cNvPr>
          <p:cNvSpPr txBox="1"/>
          <p:nvPr/>
        </p:nvSpPr>
        <p:spPr>
          <a:xfrm>
            <a:off x="1624469" y="1224797"/>
            <a:ext cx="37306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2"/>
                </a:solidFill>
                <a:latin typeface="+mj-lt"/>
              </a:rPr>
              <a:t>01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BD61162-E430-4AD5-BEC9-8F20AEEBA472}"/>
              </a:ext>
            </a:extLst>
          </p:cNvPr>
          <p:cNvSpPr txBox="1"/>
          <p:nvPr/>
        </p:nvSpPr>
        <p:spPr>
          <a:xfrm>
            <a:off x="1624469" y="2113797"/>
            <a:ext cx="37306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2"/>
                </a:solidFill>
                <a:latin typeface="+mj-lt"/>
              </a:rPr>
              <a:t>0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C0E837B-2EAB-472E-957F-969B263E0854}"/>
              </a:ext>
            </a:extLst>
          </p:cNvPr>
          <p:cNvSpPr txBox="1"/>
          <p:nvPr/>
        </p:nvSpPr>
        <p:spPr>
          <a:xfrm>
            <a:off x="1624469" y="3002797"/>
            <a:ext cx="37306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2"/>
                </a:solidFill>
                <a:latin typeface="+mj-lt"/>
              </a:rPr>
              <a:t>03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1A9ADE3-B07F-4DC6-8A88-AD498535F8A5}"/>
              </a:ext>
            </a:extLst>
          </p:cNvPr>
          <p:cNvSpPr txBox="1"/>
          <p:nvPr/>
        </p:nvSpPr>
        <p:spPr>
          <a:xfrm>
            <a:off x="1624469" y="3891797"/>
            <a:ext cx="37306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2"/>
                </a:solidFill>
                <a:latin typeface="+mj-lt"/>
              </a:rPr>
              <a:t>04</a:t>
            </a: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08BE02C8-A7FD-44C3-908B-A0A04A3CC285}"/>
              </a:ext>
            </a:extLst>
          </p:cNvPr>
          <p:cNvSpPr/>
          <p:nvPr/>
        </p:nvSpPr>
        <p:spPr>
          <a:xfrm rot="10800000">
            <a:off x="1491119" y="4771272"/>
            <a:ext cx="639762" cy="550863"/>
          </a:xfrm>
          <a:prstGeom prst="triangle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21A65C8-54AC-4E81-A282-AD721227A2B5}"/>
              </a:ext>
            </a:extLst>
          </p:cNvPr>
          <p:cNvSpPr txBox="1"/>
          <p:nvPr/>
        </p:nvSpPr>
        <p:spPr>
          <a:xfrm>
            <a:off x="1624469" y="4828422"/>
            <a:ext cx="37306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2"/>
                </a:solidFill>
                <a:latin typeface="+mj-lt"/>
              </a:rPr>
              <a:t>05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2C27DF1-35DF-4957-AD6A-09B97C196C55}"/>
              </a:ext>
            </a:extLst>
          </p:cNvPr>
          <p:cNvSpPr txBox="1"/>
          <p:nvPr/>
        </p:nvSpPr>
        <p:spPr>
          <a:xfrm>
            <a:off x="2503816" y="1176240"/>
            <a:ext cx="3592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Giới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hiệ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dự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án</a:t>
            </a:r>
            <a:endParaRPr lang="en-US" sz="1400" dirty="0"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BA544C4-F2CD-4C14-8038-CB379C5F0158}"/>
              </a:ext>
            </a:extLst>
          </p:cNvPr>
          <p:cNvSpPr txBox="1"/>
          <p:nvPr/>
        </p:nvSpPr>
        <p:spPr>
          <a:xfrm>
            <a:off x="2503816" y="2047539"/>
            <a:ext cx="3592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Phân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ích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yêu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cầu</a:t>
            </a:r>
            <a:endParaRPr lang="en-US" sz="1400" dirty="0"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1CC0114-C990-4960-B685-42E0E6A187FD}"/>
              </a:ext>
            </a:extLst>
          </p:cNvPr>
          <p:cNvSpPr txBox="1"/>
          <p:nvPr/>
        </p:nvSpPr>
        <p:spPr>
          <a:xfrm>
            <a:off x="2503816" y="2910076"/>
            <a:ext cx="3592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SVN-Gotham Bold" pitchFamily="2" charset="0"/>
                <a:cs typeface="SVN-Gotham Bold" pitchFamily="2" charset="0"/>
              </a:rPr>
              <a:t>Database</a:t>
            </a:r>
            <a:endParaRPr lang="en-US" sz="1400" dirty="0"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7845A2A-4F4A-411D-8DFE-60F4557EF73F}"/>
              </a:ext>
            </a:extLst>
          </p:cNvPr>
          <p:cNvSpPr txBox="1"/>
          <p:nvPr/>
        </p:nvSpPr>
        <p:spPr>
          <a:xfrm>
            <a:off x="2503816" y="3822482"/>
            <a:ext cx="3592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SVN-Gotham Bold" pitchFamily="2" charset="0"/>
                <a:cs typeface="SVN-Gotham Bold" pitchFamily="2" charset="0"/>
              </a:rPr>
              <a:t>Mockup</a:t>
            </a:r>
            <a:endParaRPr lang="en-US" sz="1400" dirty="0"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FA0F937-08F1-40BE-8B7D-61CC6363D859}"/>
              </a:ext>
            </a:extLst>
          </p:cNvPr>
          <p:cNvSpPr txBox="1"/>
          <p:nvPr/>
        </p:nvSpPr>
        <p:spPr>
          <a:xfrm>
            <a:off x="2438227" y="4771272"/>
            <a:ext cx="4010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Kiểm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hử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phần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mềm</a:t>
            </a:r>
            <a:endParaRPr lang="en-US" sz="2400" dirty="0"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55" name="文本框 5">
            <a:extLst>
              <a:ext uri="{FF2B5EF4-FFF2-40B4-BE49-F238E27FC236}">
                <a16:creationId xmlns:a16="http://schemas.microsoft.com/office/drawing/2014/main" id="{B696BBB7-5EC9-401A-AC19-4076FD7FAFA8}"/>
              </a:ext>
            </a:extLst>
          </p:cNvPr>
          <p:cNvSpPr txBox="1"/>
          <p:nvPr/>
        </p:nvSpPr>
        <p:spPr>
          <a:xfrm>
            <a:off x="7106344" y="1407073"/>
            <a:ext cx="4125536" cy="1025024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6000" b="1" dirty="0" err="1">
                <a:solidFill>
                  <a:srgbClr val="2E2E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Avenir Book Oblique" charset="0"/>
                <a:cs typeface="SVN-Gotham Bold" pitchFamily="2" charset="0"/>
              </a:rPr>
              <a:t>Nội</a:t>
            </a:r>
            <a:r>
              <a:rPr lang="en-US" altLang="zh-CN" sz="6000" b="1" dirty="0">
                <a:solidFill>
                  <a:srgbClr val="2E2E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Avenir Book Oblique" charset="0"/>
                <a:cs typeface="SVN-Gotham Bold" pitchFamily="2" charset="0"/>
              </a:rPr>
              <a:t> Dung</a:t>
            </a:r>
            <a:endParaRPr kumimoji="0" lang="zh-CN" altLang="en-US" sz="6000" b="1" u="none" strike="noStrike" kern="1200" cap="none" spc="0" normalizeH="0" baseline="0" noProof="0" dirty="0">
              <a:ln>
                <a:noFill/>
              </a:ln>
              <a:solidFill>
                <a:srgbClr val="2E2E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SVN-Gotham Bold" pitchFamily="2" charset="0"/>
              <a:ea typeface="Avenir Book Oblique" charset="0"/>
              <a:cs typeface="SVN-Gotham Bold" pitchFamily="2" charset="0"/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E293FBC2-0555-4457-9E75-30CBD5B259D4}"/>
              </a:ext>
            </a:extLst>
          </p:cNvPr>
          <p:cNvSpPr/>
          <p:nvPr/>
        </p:nvSpPr>
        <p:spPr>
          <a:xfrm rot="10800000">
            <a:off x="1491119" y="5669797"/>
            <a:ext cx="639762" cy="550863"/>
          </a:xfrm>
          <a:prstGeom prst="triangle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DAAAC6C-DE3D-4FF9-A8BF-63739C9CA2D0}"/>
              </a:ext>
            </a:extLst>
          </p:cNvPr>
          <p:cNvSpPr txBox="1"/>
          <p:nvPr/>
        </p:nvSpPr>
        <p:spPr>
          <a:xfrm>
            <a:off x="1624469" y="5726947"/>
            <a:ext cx="37306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bg2"/>
                </a:solidFill>
                <a:latin typeface="+mj-lt"/>
              </a:rPr>
              <a:t>06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6A4169-2CD7-42C2-BAF0-759EBE7320A2}"/>
              </a:ext>
            </a:extLst>
          </p:cNvPr>
          <p:cNvSpPr txBox="1"/>
          <p:nvPr/>
        </p:nvSpPr>
        <p:spPr>
          <a:xfrm>
            <a:off x="2438227" y="5659170"/>
            <a:ext cx="4010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Thuận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lợi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,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Khó</a:t>
            </a:r>
            <a:r>
              <a:rPr lang="en-US" sz="2400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400" dirty="0" err="1">
                <a:latin typeface="SVN-Gotham Bold" pitchFamily="2" charset="0"/>
                <a:cs typeface="SVN-Gotham Bold" pitchFamily="2" charset="0"/>
              </a:rPr>
              <a:t>khăn</a:t>
            </a:r>
            <a:endParaRPr lang="en-US" sz="1400" dirty="0">
              <a:latin typeface="SVN-Gotham Bold" pitchFamily="2" charset="0"/>
              <a:cs typeface="SVN-Gotham 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996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1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1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1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1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1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1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25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25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250"/>
                            </p:stCondLst>
                            <p:childTnLst>
                              <p:par>
                                <p:cTn id="67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68" dur="250" tmFilter="0, 0; .2, .5; .8, .5; 1, 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9" dur="125" autoRev="1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2" presetClass="entr" presetSubtype="4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2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2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825"/>
                            </p:stCondLst>
                            <p:childTnLst>
                              <p:par>
                                <p:cTn id="7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76" dur="250" tmFilter="0, 0; .2, .5; .8, .5; 1, 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7" dur="125" autoRev="1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2" presetClass="entr" presetSubtype="4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2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2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400"/>
                            </p:stCondLst>
                            <p:childTnLst>
                              <p:par>
                                <p:cTn id="8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84" dur="250" tmFilter="0, 0; .2, .5; .8, .5; 1, 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5" dur="125" autoRev="1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6" presetID="2" presetClass="entr" presetSubtype="4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2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2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2825"/>
                            </p:stCondLst>
                            <p:childTnLst>
                              <p:par>
                                <p:cTn id="9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92" dur="250" tmFilter="0, 0; .2, .5; .8, .5; 1, 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3" dur="125" autoRev="1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2" presetClass="entr" presetSubtype="4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25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25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3400"/>
                            </p:stCondLst>
                            <p:childTnLst>
                              <p:par>
                                <p:cTn id="9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00" dur="250" tmFilter="0, 0; .2, .5; .8, .5; 1, 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1" dur="125" autoRev="1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2" presetID="2" presetClass="entr" presetSubtype="2" accel="2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" presetClass="entr" presetSubtype="4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25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25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4650"/>
                            </p:stCondLst>
                            <p:childTnLst>
                              <p:par>
                                <p:cTn id="11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12" dur="250" tmFilter="0, 0; .2, .5; .8, .5; 1, 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3" dur="125" autoRev="1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34" grpId="0" animBg="1"/>
      <p:bldP spid="35" grpId="0" animBg="1"/>
      <p:bldP spid="36" grpId="0" animBg="1"/>
      <p:bldP spid="37" grpId="0" animBg="1"/>
      <p:bldP spid="38" grpId="0"/>
      <p:bldP spid="39" grpId="0"/>
      <p:bldP spid="40" grpId="0"/>
      <p:bldP spid="41" grpId="0"/>
      <p:bldP spid="42" grpId="0" animBg="1"/>
      <p:bldP spid="43" grpId="0"/>
      <p:bldP spid="44" grpId="0" build="allAtOnce"/>
      <p:bldP spid="45" grpId="0" build="allAtOnce"/>
      <p:bldP spid="46" grpId="0" build="allAtOnce"/>
      <p:bldP spid="47" grpId="0" build="allAtOnce"/>
      <p:bldP spid="48" grpId="0" build="allAtOnce"/>
      <p:bldP spid="55" grpId="0"/>
      <p:bldP spid="24" grpId="0" animBg="1"/>
      <p:bldP spid="25" grpId="0"/>
      <p:bldP spid="26" grpId="0" build="allAtOnce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组 79"/>
          <p:cNvGrpSpPr/>
          <p:nvPr/>
        </p:nvGrpSpPr>
        <p:grpSpPr>
          <a:xfrm>
            <a:off x="7635749" y="5974483"/>
            <a:ext cx="3221816" cy="587238"/>
            <a:chOff x="3149079" y="4386054"/>
            <a:chExt cx="3198510" cy="582990"/>
          </a:xfrm>
        </p:grpSpPr>
        <p:sp>
          <p:nvSpPr>
            <p:cNvPr id="34" name="Shape 1303"/>
            <p:cNvSpPr/>
            <p:nvPr/>
          </p:nvSpPr>
          <p:spPr>
            <a:xfrm flipH="1">
              <a:off x="6158729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rgbClr val="E9554A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35" name="Shape 1304"/>
            <p:cNvSpPr/>
            <p:nvPr/>
          </p:nvSpPr>
          <p:spPr>
            <a:xfrm flipH="1">
              <a:off x="6099160" y="4527464"/>
              <a:ext cx="248429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rgbClr val="E9554A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36" name="Shape 1305"/>
            <p:cNvSpPr/>
            <p:nvPr/>
          </p:nvSpPr>
          <p:spPr>
            <a:xfrm flipH="1">
              <a:off x="5830943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rgbClr val="E9554A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37" name="Shape 1306"/>
            <p:cNvSpPr/>
            <p:nvPr/>
          </p:nvSpPr>
          <p:spPr>
            <a:xfrm flipH="1">
              <a:off x="5771372" y="4527464"/>
              <a:ext cx="248429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rgbClr val="E9554A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38" name="Shape 1307"/>
            <p:cNvSpPr/>
            <p:nvPr/>
          </p:nvSpPr>
          <p:spPr>
            <a:xfrm flipH="1">
              <a:off x="5503155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rgbClr val="E9554A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39" name="Shape 1308"/>
            <p:cNvSpPr/>
            <p:nvPr/>
          </p:nvSpPr>
          <p:spPr>
            <a:xfrm flipH="1">
              <a:off x="5443587" y="4527464"/>
              <a:ext cx="248429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rgbClr val="E9554A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0" name="Shape 1309"/>
            <p:cNvSpPr/>
            <p:nvPr/>
          </p:nvSpPr>
          <p:spPr>
            <a:xfrm flipH="1">
              <a:off x="5175370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E9554A"/>
              </a:solidFill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1" name="Shape 1310"/>
            <p:cNvSpPr/>
            <p:nvPr/>
          </p:nvSpPr>
          <p:spPr>
            <a:xfrm flipH="1">
              <a:off x="5115802" y="4527464"/>
              <a:ext cx="248428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E9554A"/>
              </a:solidFill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2" name="Shape 1311"/>
            <p:cNvSpPr/>
            <p:nvPr/>
          </p:nvSpPr>
          <p:spPr>
            <a:xfrm flipH="1">
              <a:off x="4847584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3" name="Shape 1312"/>
            <p:cNvSpPr/>
            <p:nvPr/>
          </p:nvSpPr>
          <p:spPr>
            <a:xfrm flipH="1">
              <a:off x="4788015" y="4527464"/>
              <a:ext cx="248429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4" name="Shape 1313"/>
            <p:cNvSpPr/>
            <p:nvPr/>
          </p:nvSpPr>
          <p:spPr>
            <a:xfrm flipH="1">
              <a:off x="4519798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5" name="Shape 1314"/>
            <p:cNvSpPr/>
            <p:nvPr/>
          </p:nvSpPr>
          <p:spPr>
            <a:xfrm flipH="1">
              <a:off x="4460227" y="4527464"/>
              <a:ext cx="248429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6" name="Shape 1315"/>
            <p:cNvSpPr/>
            <p:nvPr/>
          </p:nvSpPr>
          <p:spPr>
            <a:xfrm flipH="1">
              <a:off x="4192009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7" name="Shape 1316"/>
            <p:cNvSpPr/>
            <p:nvPr/>
          </p:nvSpPr>
          <p:spPr>
            <a:xfrm flipH="1">
              <a:off x="4132437" y="4527464"/>
              <a:ext cx="248429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8" name="Shape 1317"/>
            <p:cNvSpPr/>
            <p:nvPr/>
          </p:nvSpPr>
          <p:spPr>
            <a:xfrm flipH="1">
              <a:off x="3864220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49" name="Shape 1318"/>
            <p:cNvSpPr/>
            <p:nvPr/>
          </p:nvSpPr>
          <p:spPr>
            <a:xfrm flipH="1">
              <a:off x="3804652" y="4527464"/>
              <a:ext cx="248429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50" name="Shape 1319"/>
            <p:cNvSpPr/>
            <p:nvPr/>
          </p:nvSpPr>
          <p:spPr>
            <a:xfrm flipH="1">
              <a:off x="3536434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51" name="Shape 1320"/>
            <p:cNvSpPr/>
            <p:nvPr/>
          </p:nvSpPr>
          <p:spPr>
            <a:xfrm flipH="1">
              <a:off x="3476863" y="4527464"/>
              <a:ext cx="248429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52" name="Shape 1321"/>
            <p:cNvSpPr/>
            <p:nvPr/>
          </p:nvSpPr>
          <p:spPr>
            <a:xfrm flipH="1">
              <a:off x="3208648" y="4386054"/>
              <a:ext cx="126785" cy="12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53" name="Shape 1322"/>
            <p:cNvSpPr/>
            <p:nvPr/>
          </p:nvSpPr>
          <p:spPr>
            <a:xfrm flipH="1">
              <a:off x="3149079" y="4527464"/>
              <a:ext cx="248428" cy="441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rgbClr val="E9554A"/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1406E15-452F-4155-AE98-3BFD04F9C079}"/>
              </a:ext>
            </a:extLst>
          </p:cNvPr>
          <p:cNvGrpSpPr/>
          <p:nvPr/>
        </p:nvGrpSpPr>
        <p:grpSpPr>
          <a:xfrm>
            <a:off x="1568739" y="482526"/>
            <a:ext cx="2565840" cy="467673"/>
            <a:chOff x="1975680" y="746566"/>
            <a:chExt cx="2977320" cy="542673"/>
          </a:xfrm>
        </p:grpSpPr>
        <p:sp>
          <p:nvSpPr>
            <p:cNvPr id="55" name="Shape 1324"/>
            <p:cNvSpPr/>
            <p:nvPr/>
          </p:nvSpPr>
          <p:spPr>
            <a:xfrm>
              <a:off x="2033462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56" name="Shape 1325"/>
            <p:cNvSpPr/>
            <p:nvPr/>
          </p:nvSpPr>
          <p:spPr>
            <a:xfrm>
              <a:off x="1975680" y="878196"/>
              <a:ext cx="231248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57" name="Shape 1326"/>
            <p:cNvSpPr/>
            <p:nvPr/>
          </p:nvSpPr>
          <p:spPr>
            <a:xfrm>
              <a:off x="2338581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58" name="Shape 1327"/>
            <p:cNvSpPr/>
            <p:nvPr/>
          </p:nvSpPr>
          <p:spPr>
            <a:xfrm>
              <a:off x="2280800" y="878196"/>
              <a:ext cx="231249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59" name="Shape 1328"/>
            <p:cNvSpPr/>
            <p:nvPr/>
          </p:nvSpPr>
          <p:spPr>
            <a:xfrm>
              <a:off x="2643702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0" name="Shape 1329"/>
            <p:cNvSpPr/>
            <p:nvPr/>
          </p:nvSpPr>
          <p:spPr>
            <a:xfrm>
              <a:off x="2585919" y="878196"/>
              <a:ext cx="231249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1" name="Shape 1330"/>
            <p:cNvSpPr/>
            <p:nvPr/>
          </p:nvSpPr>
          <p:spPr>
            <a:xfrm>
              <a:off x="2948818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2" name="Shape 1331"/>
            <p:cNvSpPr/>
            <p:nvPr/>
          </p:nvSpPr>
          <p:spPr>
            <a:xfrm>
              <a:off x="2891034" y="878196"/>
              <a:ext cx="231249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3" name="Shape 1332"/>
            <p:cNvSpPr/>
            <p:nvPr/>
          </p:nvSpPr>
          <p:spPr>
            <a:xfrm>
              <a:off x="3253936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4" name="Shape 1333"/>
            <p:cNvSpPr/>
            <p:nvPr/>
          </p:nvSpPr>
          <p:spPr>
            <a:xfrm>
              <a:off x="3196155" y="878196"/>
              <a:ext cx="231249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5" name="Shape 1334"/>
            <p:cNvSpPr/>
            <p:nvPr/>
          </p:nvSpPr>
          <p:spPr>
            <a:xfrm>
              <a:off x="3559055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6" name="Shape 1335"/>
            <p:cNvSpPr/>
            <p:nvPr/>
          </p:nvSpPr>
          <p:spPr>
            <a:xfrm>
              <a:off x="3501274" y="878196"/>
              <a:ext cx="231249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7" name="Shape 1336"/>
            <p:cNvSpPr/>
            <p:nvPr/>
          </p:nvSpPr>
          <p:spPr>
            <a:xfrm>
              <a:off x="3864177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8" name="Shape 1337"/>
            <p:cNvSpPr/>
            <p:nvPr/>
          </p:nvSpPr>
          <p:spPr>
            <a:xfrm>
              <a:off x="3806396" y="878196"/>
              <a:ext cx="231249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69" name="Shape 1338"/>
            <p:cNvSpPr/>
            <p:nvPr/>
          </p:nvSpPr>
          <p:spPr>
            <a:xfrm>
              <a:off x="4169297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chemeClr val="accent6">
                  <a:lumMod val="75000"/>
                </a:schemeClr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70" name="Shape 1339"/>
            <p:cNvSpPr/>
            <p:nvPr/>
          </p:nvSpPr>
          <p:spPr>
            <a:xfrm>
              <a:off x="4111514" y="878196"/>
              <a:ext cx="231249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chemeClr val="accent6">
                  <a:lumMod val="75000"/>
                </a:schemeClr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71" name="Shape 1340"/>
            <p:cNvSpPr/>
            <p:nvPr/>
          </p:nvSpPr>
          <p:spPr>
            <a:xfrm>
              <a:off x="4474416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chemeClr val="accent6">
                  <a:lumMod val="75000"/>
                </a:schemeClr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72" name="Shape 1341"/>
            <p:cNvSpPr/>
            <p:nvPr/>
          </p:nvSpPr>
          <p:spPr>
            <a:xfrm>
              <a:off x="4416634" y="878196"/>
              <a:ext cx="231248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chemeClr val="accent6">
                  <a:lumMod val="75000"/>
                </a:schemeClr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73" name="Shape 1342"/>
            <p:cNvSpPr/>
            <p:nvPr/>
          </p:nvSpPr>
          <p:spPr>
            <a:xfrm>
              <a:off x="4779534" y="746566"/>
              <a:ext cx="118017" cy="118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4" y="21600"/>
                  </a:moveTo>
                  <a:cubicBezTo>
                    <a:pt x="16762" y="21600"/>
                    <a:pt x="21600" y="16766"/>
                    <a:pt x="21600" y="10794"/>
                  </a:cubicBezTo>
                  <a:cubicBezTo>
                    <a:pt x="21600" y="4827"/>
                    <a:pt x="16762" y="0"/>
                    <a:pt x="10794" y="0"/>
                  </a:cubicBezTo>
                  <a:cubicBezTo>
                    <a:pt x="4831" y="0"/>
                    <a:pt x="0" y="4827"/>
                    <a:pt x="0" y="10794"/>
                  </a:cubicBezTo>
                  <a:cubicBezTo>
                    <a:pt x="0" y="16766"/>
                    <a:pt x="4831" y="21600"/>
                    <a:pt x="10794" y="21600"/>
                  </a:cubicBezTo>
                  <a:close/>
                </a:path>
              </a:pathLst>
            </a:custGeom>
            <a:ln w="12700">
              <a:solidFill>
                <a:schemeClr val="accent6">
                  <a:lumMod val="75000"/>
                </a:schemeClr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  <p:sp>
          <p:nvSpPr>
            <p:cNvPr id="74" name="Shape 1343"/>
            <p:cNvSpPr/>
            <p:nvPr/>
          </p:nvSpPr>
          <p:spPr>
            <a:xfrm>
              <a:off x="4721751" y="878196"/>
              <a:ext cx="231249" cy="4110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4" h="21600" extrusionOk="0">
                  <a:moveTo>
                    <a:pt x="21327" y="12314"/>
                  </a:moveTo>
                  <a:lnTo>
                    <a:pt x="19976" y="6045"/>
                  </a:lnTo>
                  <a:lnTo>
                    <a:pt x="19976" y="5603"/>
                  </a:lnTo>
                  <a:cubicBezTo>
                    <a:pt x="19976" y="2510"/>
                    <a:pt x="15766" y="0"/>
                    <a:pt x="10656" y="0"/>
                  </a:cubicBezTo>
                  <a:cubicBezTo>
                    <a:pt x="5541" y="0"/>
                    <a:pt x="1333" y="2510"/>
                    <a:pt x="1333" y="5603"/>
                  </a:cubicBezTo>
                  <a:lnTo>
                    <a:pt x="1333" y="5853"/>
                  </a:lnTo>
                  <a:lnTo>
                    <a:pt x="15" y="12314"/>
                  </a:lnTo>
                  <a:cubicBezTo>
                    <a:pt x="-125" y="12973"/>
                    <a:pt x="728" y="13568"/>
                    <a:pt x="1882" y="13646"/>
                  </a:cubicBezTo>
                  <a:cubicBezTo>
                    <a:pt x="3039" y="13731"/>
                    <a:pt x="4105" y="13259"/>
                    <a:pt x="4249" y="12608"/>
                  </a:cubicBezTo>
                  <a:lnTo>
                    <a:pt x="4532" y="11646"/>
                  </a:lnTo>
                  <a:cubicBezTo>
                    <a:pt x="4644" y="11707"/>
                    <a:pt x="4941" y="11771"/>
                    <a:pt x="4941" y="11828"/>
                  </a:cubicBezTo>
                  <a:lnTo>
                    <a:pt x="4941" y="20241"/>
                  </a:lnTo>
                  <a:cubicBezTo>
                    <a:pt x="4941" y="20992"/>
                    <a:pt x="6034" y="21600"/>
                    <a:pt x="7349" y="21600"/>
                  </a:cubicBezTo>
                  <a:cubicBezTo>
                    <a:pt x="8669" y="21600"/>
                    <a:pt x="9756" y="20992"/>
                    <a:pt x="9756" y="20241"/>
                  </a:cubicBezTo>
                  <a:lnTo>
                    <a:pt x="9756" y="13081"/>
                  </a:lnTo>
                  <a:cubicBezTo>
                    <a:pt x="9756" y="13110"/>
                    <a:pt x="10563" y="13130"/>
                    <a:pt x="10957" y="13130"/>
                  </a:cubicBezTo>
                  <a:cubicBezTo>
                    <a:pt x="11351" y="13130"/>
                    <a:pt x="11559" y="13110"/>
                    <a:pt x="12158" y="13081"/>
                  </a:cubicBezTo>
                  <a:lnTo>
                    <a:pt x="12158" y="20241"/>
                  </a:lnTo>
                  <a:cubicBezTo>
                    <a:pt x="12158" y="20992"/>
                    <a:pt x="12947" y="21600"/>
                    <a:pt x="14264" y="21600"/>
                  </a:cubicBezTo>
                  <a:cubicBezTo>
                    <a:pt x="15579" y="21600"/>
                    <a:pt x="16368" y="20992"/>
                    <a:pt x="16368" y="20241"/>
                  </a:cubicBezTo>
                  <a:lnTo>
                    <a:pt x="16368" y="11831"/>
                  </a:lnTo>
                  <a:cubicBezTo>
                    <a:pt x="16970" y="11778"/>
                    <a:pt x="16710" y="11720"/>
                    <a:pt x="16812" y="11665"/>
                  </a:cubicBezTo>
                  <a:lnTo>
                    <a:pt x="17087" y="12608"/>
                  </a:lnTo>
                  <a:cubicBezTo>
                    <a:pt x="17227" y="13259"/>
                    <a:pt x="18311" y="13731"/>
                    <a:pt x="19462" y="13646"/>
                  </a:cubicBezTo>
                  <a:cubicBezTo>
                    <a:pt x="20622" y="13568"/>
                    <a:pt x="21475" y="12973"/>
                    <a:pt x="21327" y="12314"/>
                  </a:cubicBezTo>
                  <a:close/>
                </a:path>
              </a:pathLst>
            </a:custGeom>
            <a:ln w="12700">
              <a:solidFill>
                <a:schemeClr val="accent6">
                  <a:lumMod val="75000"/>
                </a:schemeClr>
              </a:solidFill>
            </a:ln>
          </p:spPr>
          <p:txBody>
            <a:bodyPr lIns="19050" tIns="19050" rIns="19050" bIns="19050" anchor="ctr"/>
            <a:lstStyle/>
            <a:p>
              <a:pPr>
                <a:defRPr sz="3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E761993-5659-4496-AB61-1CB3D0BEA8EB}"/>
              </a:ext>
            </a:extLst>
          </p:cNvPr>
          <p:cNvGrpSpPr/>
          <p:nvPr/>
        </p:nvGrpSpPr>
        <p:grpSpPr>
          <a:xfrm>
            <a:off x="372787" y="208417"/>
            <a:ext cx="1028651" cy="1028649"/>
            <a:chOff x="478501" y="1098573"/>
            <a:chExt cx="1370430" cy="1370428"/>
          </a:xfrm>
        </p:grpSpPr>
        <p:sp>
          <p:nvSpPr>
            <p:cNvPr id="77" name="椭圆 76"/>
            <p:cNvSpPr/>
            <p:nvPr/>
          </p:nvSpPr>
          <p:spPr>
            <a:xfrm>
              <a:off x="478501" y="1098573"/>
              <a:ext cx="1370430" cy="1370428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5" name="Shape 926">
              <a:extLst>
                <a:ext uri="{FF2B5EF4-FFF2-40B4-BE49-F238E27FC236}">
                  <a16:creationId xmlns:a16="http://schemas.microsoft.com/office/drawing/2014/main" id="{9C7E3131-6D46-413A-9ADB-E777DC6D5679}"/>
                </a:ext>
              </a:extLst>
            </p:cNvPr>
            <p:cNvSpPr/>
            <p:nvPr/>
          </p:nvSpPr>
          <p:spPr>
            <a:xfrm>
              <a:off x="616638" y="1555969"/>
              <a:ext cx="1004660" cy="5061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5719" tIns="35719" rIns="35719" bIns="35719">
              <a:spAutoFit/>
              <a:scene3d>
                <a:camera prst="orthographicFront"/>
                <a:lightRig rig="threePt" dir="t"/>
              </a:scene3d>
              <a:sp3d contourW="12700"/>
            </a:bodyPr>
            <a:lstStyle>
              <a:lvl1pPr>
                <a:defRPr sz="7200">
                  <a:solidFill>
                    <a:srgbClr val="ABBFD8"/>
                  </a:solidFill>
                  <a:latin typeface="+mn-lt"/>
                  <a:ea typeface="+mn-ea"/>
                  <a:cs typeface="+mn-cs"/>
                  <a:sym typeface="Lato Light"/>
                </a:defRPr>
              </a:lvl1pPr>
            </a:lstStyle>
            <a:p>
              <a:pPr algn="ctr"/>
              <a:r>
                <a:rPr lang="en-US" altLang="zh-CN" sz="2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70</a:t>
              </a:r>
              <a:r>
                <a:rPr sz="2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%</a:t>
              </a:r>
            </a:p>
          </p:txBody>
        </p:sp>
      </p:grpSp>
      <p:sp>
        <p:nvSpPr>
          <p:cNvPr id="87" name="三角形 86"/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88" name="三角形 87"/>
          <p:cNvSpPr/>
          <p:nvPr/>
        </p:nvSpPr>
        <p:spPr>
          <a:xfrm>
            <a:off x="0" y="4571306"/>
            <a:ext cx="2743200" cy="2364828"/>
          </a:xfrm>
          <a:prstGeom prst="triangle">
            <a:avLst>
              <a:gd name="adj" fmla="val 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54EF483-6291-4E8A-86A4-140BD76C0295}"/>
              </a:ext>
            </a:extLst>
          </p:cNvPr>
          <p:cNvSpPr txBox="1"/>
          <p:nvPr/>
        </p:nvSpPr>
        <p:spPr>
          <a:xfrm>
            <a:off x="153849" y="6125201"/>
            <a:ext cx="1380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Thuận</a:t>
            </a:r>
            <a:r>
              <a:rPr lang="en-US" sz="20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lợi</a:t>
            </a:r>
            <a:endParaRPr lang="en-US" sz="24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1348066-8248-46E2-8A5B-2CB3428BC53E}"/>
              </a:ext>
            </a:extLst>
          </p:cNvPr>
          <p:cNvSpPr txBox="1"/>
          <p:nvPr/>
        </p:nvSpPr>
        <p:spPr>
          <a:xfrm>
            <a:off x="10678548" y="447006"/>
            <a:ext cx="17362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Khó</a:t>
            </a:r>
            <a:r>
              <a:rPr lang="en-US" sz="20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khăn</a:t>
            </a:r>
            <a:endParaRPr lang="en-US" sz="24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3432285-C41D-4E09-BEE3-806D6D987821}"/>
              </a:ext>
            </a:extLst>
          </p:cNvPr>
          <p:cNvGrpSpPr/>
          <p:nvPr/>
        </p:nvGrpSpPr>
        <p:grpSpPr>
          <a:xfrm>
            <a:off x="11040450" y="5582253"/>
            <a:ext cx="1085898" cy="1085896"/>
            <a:chOff x="478501" y="1098573"/>
            <a:chExt cx="1370430" cy="1370428"/>
          </a:xfrm>
          <a:solidFill>
            <a:srgbClr val="E9554A"/>
          </a:solidFill>
        </p:grpSpPr>
        <p:sp>
          <p:nvSpPr>
            <p:cNvPr id="92" name="椭圆 76">
              <a:extLst>
                <a:ext uri="{FF2B5EF4-FFF2-40B4-BE49-F238E27FC236}">
                  <a16:creationId xmlns:a16="http://schemas.microsoft.com/office/drawing/2014/main" id="{FCDD392C-DB3F-4067-9DCA-C2C1B3FDD096}"/>
                </a:ext>
              </a:extLst>
            </p:cNvPr>
            <p:cNvSpPr/>
            <p:nvPr/>
          </p:nvSpPr>
          <p:spPr>
            <a:xfrm>
              <a:off x="478501" y="1098573"/>
              <a:ext cx="1370430" cy="137042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93" name="Shape 926">
              <a:extLst>
                <a:ext uri="{FF2B5EF4-FFF2-40B4-BE49-F238E27FC236}">
                  <a16:creationId xmlns:a16="http://schemas.microsoft.com/office/drawing/2014/main" id="{5B8D902A-21DB-483B-9277-B69588C91043}"/>
                </a:ext>
              </a:extLst>
            </p:cNvPr>
            <p:cNvSpPr/>
            <p:nvPr/>
          </p:nvSpPr>
          <p:spPr>
            <a:xfrm>
              <a:off x="749584" y="1593577"/>
              <a:ext cx="884292" cy="557144"/>
            </a:xfrm>
            <a:prstGeom prst="rect">
              <a:avLst/>
            </a:prstGeom>
            <a:grpFill/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5719" tIns="35719" rIns="35719" bIns="35719">
              <a:spAutoFit/>
              <a:scene3d>
                <a:camera prst="orthographicFront"/>
                <a:lightRig rig="threePt" dir="t"/>
              </a:scene3d>
              <a:sp3d contourW="12700"/>
            </a:bodyPr>
            <a:lstStyle>
              <a:lvl1pPr>
                <a:defRPr sz="7200">
                  <a:solidFill>
                    <a:srgbClr val="ABBFD8"/>
                  </a:solidFill>
                  <a:latin typeface="+mn-lt"/>
                  <a:ea typeface="+mn-ea"/>
                  <a:cs typeface="+mn-cs"/>
                  <a:sym typeface="Lato Light"/>
                </a:defRPr>
              </a:lvl1pPr>
            </a:lstStyle>
            <a:p>
              <a:pPr algn="ctr"/>
              <a:r>
                <a:rPr lang="en-US" altLang="zh-CN" sz="2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30</a:t>
              </a:r>
              <a:r>
                <a:rPr sz="2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%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F7D657DF-A54C-4534-9C4E-81741A5E9295}"/>
              </a:ext>
            </a:extLst>
          </p:cNvPr>
          <p:cNvSpPr txBox="1"/>
          <p:nvPr/>
        </p:nvSpPr>
        <p:spPr>
          <a:xfrm>
            <a:off x="151782" y="1405163"/>
            <a:ext cx="6057289" cy="3370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6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Hướng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dẫn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hiệt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ình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của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giáo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viên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.</a:t>
            </a:r>
          </a:p>
          <a:p>
            <a:pPr marL="342900" lvl="0" indent="-342900">
              <a:lnSpc>
                <a:spcPct val="106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Được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sự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giúp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đỡ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của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mọi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gười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i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fix bug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ông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hể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giải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quyết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ea typeface="Times New Roman" panose="02020603050405020304" pitchFamily="18" charset="0"/>
              <a:cs typeface="SVN-Gotham Light" pitchFamily="2" charset="0"/>
            </a:endParaRPr>
          </a:p>
          <a:p>
            <a:pPr marL="342900" lvl="0" indent="-342900">
              <a:lnSpc>
                <a:spcPct val="106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hiều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guồn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ài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guyên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phong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phú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để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ham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ảo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ea typeface="Times New Roman" panose="02020603050405020304" pitchFamily="18" charset="0"/>
              <a:cs typeface="SVN-Gotham Light" pitchFamily="2" charset="0"/>
            </a:endParaRPr>
          </a:p>
          <a:p>
            <a:pPr marL="342900" lvl="0" indent="-342900">
              <a:lnSpc>
                <a:spcPct val="106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Phát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hiều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sinh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lỗi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hưng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đa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phần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ằm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rong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ả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ăng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ự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giải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quyết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ea typeface="Times New Roman" panose="02020603050405020304" pitchFamily="18" charset="0"/>
              <a:cs typeface="SVN-Gotham Light" pitchFamily="2" charset="0"/>
            </a:endParaRPr>
          </a:p>
          <a:p>
            <a:pPr marL="285750" lvl="0" indent="-285750">
              <a:lnSpc>
                <a:spcPct val="106000"/>
              </a:lnSpc>
              <a:spcBef>
                <a:spcPts val="5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Sự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Phối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hợp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ăn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ớp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giữa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các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hành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viên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rong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hóm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ea typeface="Times New Roman" panose="02020603050405020304" pitchFamily="18" charset="0"/>
              <a:cs typeface="SVN-Gotham Light" pitchFamily="2" charset="0"/>
            </a:endParaRPr>
          </a:p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DBC665-2266-45DD-9731-6B0F93041E78}"/>
              </a:ext>
            </a:extLst>
          </p:cNvPr>
          <p:cNvSpPr txBox="1"/>
          <p:nvPr/>
        </p:nvSpPr>
        <p:spPr>
          <a:xfrm>
            <a:off x="6873832" y="3800237"/>
            <a:ext cx="5178774" cy="2159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6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Giao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iếp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online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gặp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hiều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ó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ăn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ea typeface="Times New Roman" panose="02020603050405020304" pitchFamily="18" charset="0"/>
              <a:cs typeface="SVN-Gotham Light" pitchFamily="2" charset="0"/>
            </a:endParaRPr>
          </a:p>
          <a:p>
            <a:pPr marL="342900" lvl="0" indent="-342900">
              <a:lnSpc>
                <a:spcPct val="106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Một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số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công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ghệ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mới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i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iếp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cận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còn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gặp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ó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khăn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ea typeface="Times New Roman" panose="02020603050405020304" pitchFamily="18" charset="0"/>
              <a:cs typeface="SVN-Gotham Light" pitchFamily="2" charset="0"/>
            </a:endParaRPr>
          </a:p>
          <a:p>
            <a:pPr marL="342900" lvl="0" indent="-342900">
              <a:lnSpc>
                <a:spcPct val="106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Nhiều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yếu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ố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bất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cập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xảy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ra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làm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chậm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tiến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độ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dự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ea typeface="Times New Roman" panose="02020603050405020304" pitchFamily="18" charset="0"/>
                <a:cs typeface="SVN-Gotham Light" pitchFamily="2" charset="0"/>
              </a:rPr>
              <a:t>án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ea typeface="Times New Roman" panose="02020603050405020304" pitchFamily="18" charset="0"/>
              <a:cs typeface="SVN-Gotham Light" pitchFamily="2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cs typeface="SVN-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66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  <p:bldP spid="88" grpId="0" animBg="1"/>
      <p:bldP spid="89" grpId="0"/>
      <p:bldP spid="90" grpId="0"/>
      <p:bldP spid="17" grpId="0"/>
      <p:bldP spid="18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CA442420-11B2-4321-914F-C37D3B2D950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58"/>
          <a:stretch/>
        </p:blipFill>
        <p:spPr>
          <a:xfrm>
            <a:off x="-1" y="2698955"/>
            <a:ext cx="6297561" cy="415904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079B25DE-279C-4A1D-A6E2-F86B07673DEE}"/>
              </a:ext>
            </a:extLst>
          </p:cNvPr>
          <p:cNvSpPr txBox="1"/>
          <p:nvPr/>
        </p:nvSpPr>
        <p:spPr>
          <a:xfrm>
            <a:off x="7344696" y="2123768"/>
            <a:ext cx="38050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>
                <a:latin typeface="SVN-Gotham Bold" pitchFamily="2" charset="0"/>
                <a:cs typeface="SVN-Gotham Bold" pitchFamily="2" charset="0"/>
              </a:rPr>
              <a:t>DEMO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D162202-FA9F-4A24-BB3E-5208D5A392A8}"/>
              </a:ext>
            </a:extLst>
          </p:cNvPr>
          <p:cNvCxnSpPr/>
          <p:nvPr/>
        </p:nvCxnSpPr>
        <p:spPr>
          <a:xfrm>
            <a:off x="7477432" y="3031470"/>
            <a:ext cx="1524000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96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1">
            <a:extLst>
              <a:ext uri="{FF2B5EF4-FFF2-40B4-BE49-F238E27FC236}">
                <a16:creationId xmlns:a16="http://schemas.microsoft.com/office/drawing/2014/main" id="{DFCE8117-AAB3-434B-9487-F9E1B8351A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45" b="27545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2" name="任意形状 5">
            <a:extLst>
              <a:ext uri="{FF2B5EF4-FFF2-40B4-BE49-F238E27FC236}">
                <a16:creationId xmlns:a16="http://schemas.microsoft.com/office/drawing/2014/main" id="{E1498553-F988-4B4D-8EC1-BF859CC079AA}"/>
              </a:ext>
            </a:extLst>
          </p:cNvPr>
          <p:cNvSpPr/>
          <p:nvPr/>
        </p:nvSpPr>
        <p:spPr>
          <a:xfrm rot="10800000">
            <a:off x="-1" y="-39089"/>
            <a:ext cx="9574308" cy="6897089"/>
          </a:xfrm>
          <a:custGeom>
            <a:avLst/>
            <a:gdLst>
              <a:gd name="connsiteX0" fmla="*/ 4177553 w 4177553"/>
              <a:gd name="connsiteY0" fmla="*/ 3013636 h 3013636"/>
              <a:gd name="connsiteX1" fmla="*/ 2743200 w 4177553"/>
              <a:gd name="connsiteY1" fmla="*/ 3013636 h 3013636"/>
              <a:gd name="connsiteX2" fmla="*/ 0 w 4177553"/>
              <a:gd name="connsiteY2" fmla="*/ 648808 h 3013636"/>
              <a:gd name="connsiteX3" fmla="*/ 0 w 4177553"/>
              <a:gd name="connsiteY3" fmla="*/ 0 h 3013636"/>
              <a:gd name="connsiteX4" fmla="*/ 4177553 w 4177553"/>
              <a:gd name="connsiteY4" fmla="*/ 0 h 3013636"/>
              <a:gd name="connsiteX5" fmla="*/ 4177553 w 4177553"/>
              <a:gd name="connsiteY5" fmla="*/ 3013636 h 3013636"/>
              <a:gd name="connsiteX0" fmla="*/ 4183429 w 4183429"/>
              <a:gd name="connsiteY0" fmla="*/ 3013636 h 3013636"/>
              <a:gd name="connsiteX1" fmla="*/ 2749076 w 4183429"/>
              <a:gd name="connsiteY1" fmla="*/ 3013636 h 3013636"/>
              <a:gd name="connsiteX2" fmla="*/ 0 w 4183429"/>
              <a:gd name="connsiteY2" fmla="*/ 319774 h 3013636"/>
              <a:gd name="connsiteX3" fmla="*/ 5876 w 4183429"/>
              <a:gd name="connsiteY3" fmla="*/ 0 h 3013636"/>
              <a:gd name="connsiteX4" fmla="*/ 4183429 w 4183429"/>
              <a:gd name="connsiteY4" fmla="*/ 0 h 3013636"/>
              <a:gd name="connsiteX5" fmla="*/ 4183429 w 4183429"/>
              <a:gd name="connsiteY5" fmla="*/ 3013636 h 3013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3429" h="3013636">
                <a:moveTo>
                  <a:pt x="4183429" y="3013636"/>
                </a:moveTo>
                <a:lnTo>
                  <a:pt x="2749076" y="3013636"/>
                </a:lnTo>
                <a:lnTo>
                  <a:pt x="0" y="319774"/>
                </a:lnTo>
                <a:lnTo>
                  <a:pt x="5876" y="0"/>
                </a:lnTo>
                <a:lnTo>
                  <a:pt x="4183429" y="0"/>
                </a:lnTo>
                <a:lnTo>
                  <a:pt x="4183429" y="3013636"/>
                </a:lnTo>
                <a:close/>
              </a:path>
            </a:pathLst>
          </a:custGeom>
          <a:solidFill>
            <a:srgbClr val="2E2E3F">
              <a:alpha val="7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" name="三角形 2">
            <a:extLst>
              <a:ext uri="{FF2B5EF4-FFF2-40B4-BE49-F238E27FC236}">
                <a16:creationId xmlns:a16="http://schemas.microsoft.com/office/drawing/2014/main" id="{59FBA502-3F5F-4AC6-92E9-746F6AD2CE26}"/>
              </a:ext>
            </a:extLst>
          </p:cNvPr>
          <p:cNvSpPr/>
          <p:nvPr/>
        </p:nvSpPr>
        <p:spPr>
          <a:xfrm>
            <a:off x="0" y="4493172"/>
            <a:ext cx="2743200" cy="236482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" name="三角形 3">
            <a:extLst>
              <a:ext uri="{FF2B5EF4-FFF2-40B4-BE49-F238E27FC236}">
                <a16:creationId xmlns:a16="http://schemas.microsoft.com/office/drawing/2014/main" id="{5398E2B6-9681-4639-8F01-952C34F2E35A}"/>
              </a:ext>
            </a:extLst>
          </p:cNvPr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E3E28F-12AE-467F-96BB-088B13B92D72}"/>
              </a:ext>
            </a:extLst>
          </p:cNvPr>
          <p:cNvSpPr txBox="1"/>
          <p:nvPr/>
        </p:nvSpPr>
        <p:spPr>
          <a:xfrm>
            <a:off x="2126015" y="3492685"/>
            <a:ext cx="39438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THANK YOU</a:t>
            </a:r>
          </a:p>
        </p:txBody>
      </p:sp>
      <p:pic>
        <p:nvPicPr>
          <p:cNvPr id="10" name="Graphic 9" descr="Typewriter with solid fill">
            <a:extLst>
              <a:ext uri="{FF2B5EF4-FFF2-40B4-BE49-F238E27FC236}">
                <a16:creationId xmlns:a16="http://schemas.microsoft.com/office/drawing/2014/main" id="{25387FCA-51BB-4F13-979B-8831ED21B6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7465" y="6163088"/>
            <a:ext cx="641498" cy="641498"/>
          </a:xfrm>
          <a:prstGeom prst="rect">
            <a:avLst/>
          </a:prstGeom>
        </p:spPr>
      </p:pic>
      <p:pic>
        <p:nvPicPr>
          <p:cNvPr id="11" name="Graphic 10" descr="Storytelling with solid fill">
            <a:extLst>
              <a:ext uri="{FF2B5EF4-FFF2-40B4-BE49-F238E27FC236}">
                <a16:creationId xmlns:a16="http://schemas.microsoft.com/office/drawing/2014/main" id="{2CE5CDF6-8ECA-45BB-8292-30690BC582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3793" y="6104096"/>
            <a:ext cx="641497" cy="641497"/>
          </a:xfrm>
          <a:prstGeom prst="rect">
            <a:avLst/>
          </a:prstGeom>
        </p:spPr>
      </p:pic>
      <p:pic>
        <p:nvPicPr>
          <p:cNvPr id="12" name="Graphic 11" descr="Person eating with solid fill">
            <a:extLst>
              <a:ext uri="{FF2B5EF4-FFF2-40B4-BE49-F238E27FC236}">
                <a16:creationId xmlns:a16="http://schemas.microsoft.com/office/drawing/2014/main" id="{D0B6DBC1-9AE0-4B61-A58D-D6F9535680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8552" y="6174075"/>
            <a:ext cx="641498" cy="641498"/>
          </a:xfrm>
          <a:prstGeom prst="rect">
            <a:avLst/>
          </a:prstGeom>
        </p:spPr>
      </p:pic>
      <p:cxnSp>
        <p:nvCxnSpPr>
          <p:cNvPr id="13" name="直接连接符 22">
            <a:extLst>
              <a:ext uri="{FF2B5EF4-FFF2-40B4-BE49-F238E27FC236}">
                <a16:creationId xmlns:a16="http://schemas.microsoft.com/office/drawing/2014/main" id="{6EA6696C-1A45-48D7-9D1B-059DF9E2F9A6}"/>
              </a:ext>
            </a:extLst>
          </p:cNvPr>
          <p:cNvCxnSpPr>
            <a:cxnSpLocks/>
          </p:cNvCxnSpPr>
          <p:nvPr/>
        </p:nvCxnSpPr>
        <p:spPr>
          <a:xfrm>
            <a:off x="1203593" y="4884852"/>
            <a:ext cx="571782" cy="0"/>
          </a:xfrm>
          <a:prstGeom prst="line">
            <a:avLst/>
          </a:prstGeom>
          <a:ln w="57150">
            <a:solidFill>
              <a:srgbClr val="E955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6044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stack of books&#10;&#10;Description automatically generated with low confidence">
            <a:extLst>
              <a:ext uri="{FF2B5EF4-FFF2-40B4-BE49-F238E27FC236}">
                <a16:creationId xmlns:a16="http://schemas.microsoft.com/office/drawing/2014/main" id="{7394892D-6AB4-4371-B647-5A9AD00BEF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2137"/>
            <a:ext cx="12192000" cy="6919227"/>
          </a:xfrm>
          <a:prstGeom prst="rect">
            <a:avLst/>
          </a:prstGeom>
        </p:spPr>
      </p:pic>
      <p:sp>
        <p:nvSpPr>
          <p:cNvPr id="7" name="任意形状 6"/>
          <p:cNvSpPr/>
          <p:nvPr/>
        </p:nvSpPr>
        <p:spPr>
          <a:xfrm rot="10800000" flipH="1" flipV="1">
            <a:off x="1815588" y="-22136"/>
            <a:ext cx="10376412" cy="6919225"/>
          </a:xfrm>
          <a:custGeom>
            <a:avLst/>
            <a:gdLst>
              <a:gd name="connsiteX0" fmla="*/ 4177553 w 4177553"/>
              <a:gd name="connsiteY0" fmla="*/ 3013636 h 3013636"/>
              <a:gd name="connsiteX1" fmla="*/ 2743200 w 4177553"/>
              <a:gd name="connsiteY1" fmla="*/ 3013636 h 3013636"/>
              <a:gd name="connsiteX2" fmla="*/ 0 w 4177553"/>
              <a:gd name="connsiteY2" fmla="*/ 648808 h 3013636"/>
              <a:gd name="connsiteX3" fmla="*/ 0 w 4177553"/>
              <a:gd name="connsiteY3" fmla="*/ 0 h 3013636"/>
              <a:gd name="connsiteX4" fmla="*/ 4177553 w 4177553"/>
              <a:gd name="connsiteY4" fmla="*/ 0 h 3013636"/>
              <a:gd name="connsiteX5" fmla="*/ 4177553 w 4177553"/>
              <a:gd name="connsiteY5" fmla="*/ 3013636 h 3013636"/>
              <a:gd name="connsiteX0" fmla="*/ 4183429 w 4183429"/>
              <a:gd name="connsiteY0" fmla="*/ 3013636 h 3013636"/>
              <a:gd name="connsiteX1" fmla="*/ 2749076 w 4183429"/>
              <a:gd name="connsiteY1" fmla="*/ 3013636 h 3013636"/>
              <a:gd name="connsiteX2" fmla="*/ 0 w 4183429"/>
              <a:gd name="connsiteY2" fmla="*/ 319774 h 3013636"/>
              <a:gd name="connsiteX3" fmla="*/ 5876 w 4183429"/>
              <a:gd name="connsiteY3" fmla="*/ 0 h 3013636"/>
              <a:gd name="connsiteX4" fmla="*/ 4183429 w 4183429"/>
              <a:gd name="connsiteY4" fmla="*/ 0 h 3013636"/>
              <a:gd name="connsiteX5" fmla="*/ 4183429 w 4183429"/>
              <a:gd name="connsiteY5" fmla="*/ 3013636 h 3013636"/>
              <a:gd name="connsiteX0" fmla="*/ 4533903 w 4533903"/>
              <a:gd name="connsiteY0" fmla="*/ 3023308 h 3023308"/>
              <a:gd name="connsiteX1" fmla="*/ 3099550 w 4533903"/>
              <a:gd name="connsiteY1" fmla="*/ 3023308 h 3023308"/>
              <a:gd name="connsiteX2" fmla="*/ 0 w 4533903"/>
              <a:gd name="connsiteY2" fmla="*/ 0 h 3023308"/>
              <a:gd name="connsiteX3" fmla="*/ 356350 w 4533903"/>
              <a:gd name="connsiteY3" fmla="*/ 9672 h 3023308"/>
              <a:gd name="connsiteX4" fmla="*/ 4533903 w 4533903"/>
              <a:gd name="connsiteY4" fmla="*/ 9672 h 3023308"/>
              <a:gd name="connsiteX5" fmla="*/ 4533903 w 4533903"/>
              <a:gd name="connsiteY5" fmla="*/ 3023308 h 302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33903" h="3023308">
                <a:moveTo>
                  <a:pt x="4533903" y="3023308"/>
                </a:moveTo>
                <a:lnTo>
                  <a:pt x="3099550" y="3023308"/>
                </a:lnTo>
                <a:lnTo>
                  <a:pt x="0" y="0"/>
                </a:lnTo>
                <a:lnTo>
                  <a:pt x="356350" y="9672"/>
                </a:lnTo>
                <a:lnTo>
                  <a:pt x="4533903" y="9672"/>
                </a:lnTo>
                <a:lnTo>
                  <a:pt x="4533903" y="3023308"/>
                </a:lnTo>
                <a:close/>
              </a:path>
            </a:pathLst>
          </a:cu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三角形 2"/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4" name="三角形 3"/>
          <p:cNvSpPr/>
          <p:nvPr/>
        </p:nvSpPr>
        <p:spPr>
          <a:xfrm>
            <a:off x="0" y="4493172"/>
            <a:ext cx="2743200" cy="236482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/>
          <p:cNvSpPr/>
          <p:nvPr/>
        </p:nvSpPr>
        <p:spPr>
          <a:xfrm rot="5400000">
            <a:off x="6864534" y="3218454"/>
            <a:ext cx="94130" cy="898234"/>
          </a:xfrm>
          <a:prstGeom prst="rect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C968E5-8EB4-43F3-972A-F3821F1F9DB3}"/>
              </a:ext>
            </a:extLst>
          </p:cNvPr>
          <p:cNvSpPr txBox="1"/>
          <p:nvPr/>
        </p:nvSpPr>
        <p:spPr>
          <a:xfrm>
            <a:off x="6958074" y="2914328"/>
            <a:ext cx="47693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Giới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Thiệu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Dự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Án</a:t>
            </a:r>
            <a:endParaRPr lang="en-US" sz="36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D3EB4B3-A99B-44A1-B9AF-EAB213DB47F1}"/>
              </a:ext>
            </a:extLst>
          </p:cNvPr>
          <p:cNvGrpSpPr/>
          <p:nvPr/>
        </p:nvGrpSpPr>
        <p:grpSpPr>
          <a:xfrm>
            <a:off x="7909560" y="1328669"/>
            <a:ext cx="1118663" cy="1118663"/>
            <a:chOff x="7909560" y="1328669"/>
            <a:chExt cx="1118663" cy="1118663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2F78B57-7465-44A8-9891-07E030845F5A}"/>
                </a:ext>
              </a:extLst>
            </p:cNvPr>
            <p:cNvSpPr txBox="1"/>
            <p:nvPr/>
          </p:nvSpPr>
          <p:spPr>
            <a:xfrm>
              <a:off x="8042084" y="1328669"/>
              <a:ext cx="974434" cy="106215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6000" b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ea typeface="Avenir Book Oblique" charset="0"/>
                  <a:cs typeface="Times New Roman" panose="02020603050405020304" pitchFamily="18" charset="0"/>
                </a:rPr>
                <a:t> I</a:t>
              </a:r>
              <a:endParaRPr kumimoji="0" lang="zh-CN" altLang="en-US" sz="60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Avenir Book Oblique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AEA34AD-05C2-4EF1-8556-BD4F4070513B}"/>
                </a:ext>
              </a:extLst>
            </p:cNvPr>
            <p:cNvSpPr/>
            <p:nvPr/>
          </p:nvSpPr>
          <p:spPr>
            <a:xfrm>
              <a:off x="7909560" y="1328669"/>
              <a:ext cx="1118663" cy="1118663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12937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4" grpId="0" animBg="1"/>
      <p:bldP spid="9" grpId="0" animBg="1"/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-1" y="1705975"/>
            <a:ext cx="2331391" cy="2155602"/>
          </a:xfrm>
          <a:prstGeom prst="rect">
            <a:avLst/>
          </a:prstGeom>
          <a:solidFill>
            <a:srgbClr val="2E2E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矩形 7"/>
          <p:cNvSpPr/>
          <p:nvPr/>
        </p:nvSpPr>
        <p:spPr>
          <a:xfrm rot="2700000">
            <a:off x="1666847" y="1521628"/>
            <a:ext cx="2419787" cy="2419787"/>
          </a:xfrm>
          <a:prstGeom prst="rect">
            <a:avLst/>
          </a:prstGeom>
          <a:solidFill>
            <a:srgbClr val="2E2E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/>
          <p:cNvSpPr/>
          <p:nvPr/>
        </p:nvSpPr>
        <p:spPr>
          <a:xfrm rot="2700000">
            <a:off x="3436857" y="1519956"/>
            <a:ext cx="2646947" cy="2646947"/>
          </a:xfrm>
          <a:prstGeom prst="rect">
            <a:avLst/>
          </a:prstGeom>
          <a:blipFill dpi="0" rotWithShape="0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76BD102-72CC-4C30-BC67-CEAADED18E94}"/>
              </a:ext>
            </a:extLst>
          </p:cNvPr>
          <p:cNvSpPr/>
          <p:nvPr/>
        </p:nvSpPr>
        <p:spPr>
          <a:xfrm>
            <a:off x="137238" y="2393062"/>
            <a:ext cx="2739502" cy="676917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>
              <a:lnSpc>
                <a:spcPct val="120000"/>
              </a:lnSpc>
            </a:pPr>
            <a:r>
              <a:rPr lang="en-US" altLang="zh-CN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Hiện</a:t>
            </a:r>
            <a:r>
              <a:rPr lang="en-US" altLang="zh-CN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 </a:t>
            </a:r>
            <a:r>
              <a:rPr lang="en-US" altLang="zh-CN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Trạng</a:t>
            </a:r>
            <a:endParaRPr lang="zh-CN" alt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Bold" pitchFamily="2" charset="0"/>
              <a:ea typeface="Microsoft YaHei" charset="-122"/>
              <a:cs typeface="SVN-Gotham Bold" pitchFamily="2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45E0637-383D-4591-AF23-FD03A2BF72EB}"/>
              </a:ext>
            </a:extLst>
          </p:cNvPr>
          <p:cNvGrpSpPr/>
          <p:nvPr/>
        </p:nvGrpSpPr>
        <p:grpSpPr>
          <a:xfrm>
            <a:off x="5489728" y="388282"/>
            <a:ext cx="4228969" cy="825287"/>
            <a:chOff x="4004020" y="393947"/>
            <a:chExt cx="4228969" cy="82528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F2C1708-E041-42E7-A721-B7DE06277E8E}"/>
                </a:ext>
              </a:extLst>
            </p:cNvPr>
            <p:cNvSpPr txBox="1"/>
            <p:nvPr/>
          </p:nvSpPr>
          <p:spPr>
            <a:xfrm>
              <a:off x="4545408" y="572903"/>
              <a:ext cx="368758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Nhà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sách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có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nhiều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đầu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sách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nhập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và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bán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ra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hằng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ngày</a:t>
              </a:r>
              <a:endPara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endParaRPr>
            </a:p>
          </p:txBody>
        </p:sp>
        <p:pic>
          <p:nvPicPr>
            <p:cNvPr id="28" name="Graphic 27" descr="Register with solid fill">
              <a:extLst>
                <a:ext uri="{FF2B5EF4-FFF2-40B4-BE49-F238E27FC236}">
                  <a16:creationId xmlns:a16="http://schemas.microsoft.com/office/drawing/2014/main" id="{3CEB72AB-0AE6-492A-B52A-94BE2EC970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4020" y="393947"/>
              <a:ext cx="541388" cy="541388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113487-C0F7-4E95-91D9-57A44FA0CC3C}"/>
              </a:ext>
            </a:extLst>
          </p:cNvPr>
          <p:cNvGrpSpPr/>
          <p:nvPr/>
        </p:nvGrpSpPr>
        <p:grpSpPr>
          <a:xfrm>
            <a:off x="7921874" y="3038287"/>
            <a:ext cx="4078294" cy="1001683"/>
            <a:chOff x="7921874" y="3038287"/>
            <a:chExt cx="4078294" cy="1001683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0E74748-0BC1-4AE3-93D4-8A5CBE29E77A}"/>
                </a:ext>
              </a:extLst>
            </p:cNvPr>
            <p:cNvSpPr txBox="1"/>
            <p:nvPr/>
          </p:nvSpPr>
          <p:spPr>
            <a:xfrm>
              <a:off x="8312587" y="3116640"/>
              <a:ext cx="368758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Quản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lý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nhà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sách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bằng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phần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mềm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excel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đang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gặp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nhiều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khó</a:t>
              </a:r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 </a:t>
              </a:r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cs typeface="SVN-Gotham Light" pitchFamily="2" charset="0"/>
                </a:rPr>
                <a:t>khăn</a:t>
              </a:r>
              <a:endPara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endParaRPr>
            </a:p>
          </p:txBody>
        </p:sp>
        <p:pic>
          <p:nvPicPr>
            <p:cNvPr id="31" name="Graphic 30" descr="Lost with solid fill">
              <a:extLst>
                <a:ext uri="{FF2B5EF4-FFF2-40B4-BE49-F238E27FC236}">
                  <a16:creationId xmlns:a16="http://schemas.microsoft.com/office/drawing/2014/main" id="{3238700D-FA17-4554-BBAF-E4916EA12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21874" y="3038287"/>
              <a:ext cx="390713" cy="390713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FC5C043-1B3D-4C1B-A226-1736DA686263}"/>
              </a:ext>
            </a:extLst>
          </p:cNvPr>
          <p:cNvGrpSpPr/>
          <p:nvPr/>
        </p:nvGrpSpPr>
        <p:grpSpPr>
          <a:xfrm>
            <a:off x="5238673" y="5182253"/>
            <a:ext cx="4480024" cy="1287465"/>
            <a:chOff x="5788543" y="5404041"/>
            <a:chExt cx="4480024" cy="1287465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AFD56C3-F420-441C-AEF6-48B5D0F50141}"/>
                </a:ext>
              </a:extLst>
            </p:cNvPr>
            <p:cNvSpPr txBox="1"/>
            <p:nvPr/>
          </p:nvSpPr>
          <p:spPr>
            <a:xfrm>
              <a:off x="6356608" y="5491177"/>
              <a:ext cx="391195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Q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uản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lý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dễ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sai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sót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,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bảo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mật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không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tốt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và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nhà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sách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muốn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cập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nhật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thêm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thẻ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thành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viên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cho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khách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hàng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để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tri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ân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khách</a:t>
              </a:r>
              <a:r>
                <a:rPr lang="en-US" sz="18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 </a:t>
              </a:r>
              <a:r>
                <a:rPr lang="en-US" sz="18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VN-Gotham Light" pitchFamily="2" charset="0"/>
                  <a:ea typeface="Times New Roman" panose="02020603050405020304" pitchFamily="18" charset="0"/>
                  <a:cs typeface="SVN-Gotham Light" pitchFamily="2" charset="0"/>
                </a:rPr>
                <a:t>hàng</a:t>
              </a:r>
              <a:endPara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endParaRPr>
            </a:p>
          </p:txBody>
        </p:sp>
        <p:pic>
          <p:nvPicPr>
            <p:cNvPr id="34" name="Graphic 33" descr="Clipboard with solid fill">
              <a:extLst>
                <a:ext uri="{FF2B5EF4-FFF2-40B4-BE49-F238E27FC236}">
                  <a16:creationId xmlns:a16="http://schemas.microsoft.com/office/drawing/2014/main" id="{C398AA3B-617E-4F4B-BE58-F0B1757B7E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88543" y="5404041"/>
              <a:ext cx="562107" cy="56210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428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F1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BF44CBC-0B7B-49A5-82E9-FBB92E4589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362" y="3885206"/>
            <a:ext cx="4452493" cy="333937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10B8FA61-DE92-4513-A540-02735E23D98E}"/>
              </a:ext>
            </a:extLst>
          </p:cNvPr>
          <p:cNvGrpSpPr/>
          <p:nvPr/>
        </p:nvGrpSpPr>
        <p:grpSpPr>
          <a:xfrm>
            <a:off x="-101567" y="795612"/>
            <a:ext cx="4871259" cy="2119391"/>
            <a:chOff x="-1" y="1519956"/>
            <a:chExt cx="6083805" cy="2646947"/>
          </a:xfrm>
        </p:grpSpPr>
        <p:sp>
          <p:nvSpPr>
            <p:cNvPr id="19" name="矩形 18"/>
            <p:cNvSpPr/>
            <p:nvPr/>
          </p:nvSpPr>
          <p:spPr>
            <a:xfrm>
              <a:off x="-1" y="1705975"/>
              <a:ext cx="2331391" cy="2155602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" name="矩形 7"/>
            <p:cNvSpPr/>
            <p:nvPr/>
          </p:nvSpPr>
          <p:spPr>
            <a:xfrm rot="2700000">
              <a:off x="1666847" y="1521628"/>
              <a:ext cx="2419787" cy="2419787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9" name="矩形 8"/>
            <p:cNvSpPr/>
            <p:nvPr/>
          </p:nvSpPr>
          <p:spPr>
            <a:xfrm rot="2700000">
              <a:off x="3436857" y="1519956"/>
              <a:ext cx="2646947" cy="2646947"/>
            </a:xfrm>
            <a:prstGeom prst="rect">
              <a:avLst/>
            </a:pr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17" name="矩形 16">
            <a:extLst>
              <a:ext uri="{FF2B5EF4-FFF2-40B4-BE49-F238E27FC236}">
                <a16:creationId xmlns:a16="http://schemas.microsoft.com/office/drawing/2014/main" id="{B76BD102-72CC-4C30-BC67-CEAADED18E94}"/>
              </a:ext>
            </a:extLst>
          </p:cNvPr>
          <p:cNvSpPr/>
          <p:nvPr/>
        </p:nvSpPr>
        <p:spPr>
          <a:xfrm>
            <a:off x="-240589" y="1303109"/>
            <a:ext cx="2739502" cy="92519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Yêu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 </a:t>
            </a: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Cầu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 </a:t>
            </a: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Hệ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 </a:t>
            </a: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ea typeface="Microsoft YaHei" charset="-122"/>
                <a:cs typeface="SVN-Gotham Bold" pitchFamily="2" charset="0"/>
              </a:rPr>
              <a:t>Thống</a:t>
            </a:r>
            <a:endParaRPr lang="zh-CN" alt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Bold" pitchFamily="2" charset="0"/>
              <a:ea typeface="Microsoft YaHei" charset="-122"/>
              <a:cs typeface="SVN-Gotham Bold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9430C8-591C-4538-8B9F-644C214A033E}"/>
              </a:ext>
            </a:extLst>
          </p:cNvPr>
          <p:cNvSpPr txBox="1"/>
          <p:nvPr/>
        </p:nvSpPr>
        <p:spPr>
          <a:xfrm>
            <a:off x="248990" y="3834507"/>
            <a:ext cx="1602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VN-Gotham Bold" pitchFamily="2" charset="0"/>
                <a:cs typeface="SVN-Gotham Bold" pitchFamily="2" charset="0"/>
              </a:rPr>
              <a:t> - </a:t>
            </a:r>
            <a:r>
              <a:rPr lang="en-US" dirty="0" err="1">
                <a:latin typeface="SVN-Gotham Bold" pitchFamily="2" charset="0"/>
                <a:cs typeface="SVN-Gotham Bold" pitchFamily="2" charset="0"/>
              </a:rPr>
              <a:t>Nghiệp</a:t>
            </a:r>
            <a:r>
              <a:rPr lang="en-US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dirty="0" err="1">
                <a:latin typeface="SVN-Gotham Bold" pitchFamily="2" charset="0"/>
                <a:cs typeface="SVN-Gotham Bold" pitchFamily="2" charset="0"/>
              </a:rPr>
              <a:t>vụ</a:t>
            </a:r>
            <a:endParaRPr lang="en-US" dirty="0">
              <a:latin typeface="SVN-Gotham Bold" pitchFamily="2" charset="0"/>
              <a:cs typeface="SVN-Gotham Bold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17E0464-1070-42F9-8F89-2BA63DE71674}"/>
              </a:ext>
            </a:extLst>
          </p:cNvPr>
          <p:cNvSpPr txBox="1"/>
          <p:nvPr/>
        </p:nvSpPr>
        <p:spPr>
          <a:xfrm>
            <a:off x="6096000" y="3957219"/>
            <a:ext cx="1451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VN-Gotham Bold" pitchFamily="2" charset="0"/>
                <a:cs typeface="SVN-Gotham Bold" pitchFamily="2" charset="0"/>
              </a:rPr>
              <a:t> - </a:t>
            </a:r>
            <a:r>
              <a:rPr lang="en-US" dirty="0" err="1">
                <a:latin typeface="SVN-Gotham Bold" pitchFamily="2" charset="0"/>
                <a:cs typeface="SVN-Gotham Bold" pitchFamily="2" charset="0"/>
              </a:rPr>
              <a:t>Bảo</a:t>
            </a:r>
            <a:r>
              <a:rPr lang="en-US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dirty="0" err="1">
                <a:latin typeface="SVN-Gotham Bold" pitchFamily="2" charset="0"/>
                <a:cs typeface="SVN-Gotham Bold" pitchFamily="2" charset="0"/>
              </a:rPr>
              <a:t>mật</a:t>
            </a:r>
            <a:endParaRPr lang="en-US" dirty="0">
              <a:latin typeface="SVN-Gotham Bold" pitchFamily="2" charset="0"/>
              <a:cs typeface="SVN-Gotham Bold" pitchFamily="2" charset="0"/>
            </a:endParaRPr>
          </a:p>
        </p:txBody>
      </p:sp>
      <p:pic>
        <p:nvPicPr>
          <p:cNvPr id="11" name="Picture 10" descr="A picture containing toy&#10;&#10;Description automatically generated">
            <a:extLst>
              <a:ext uri="{FF2B5EF4-FFF2-40B4-BE49-F238E27FC236}">
                <a16:creationId xmlns:a16="http://schemas.microsoft.com/office/drawing/2014/main" id="{4772E80B-9C8F-45E4-B019-2346E27974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220" y="3834507"/>
            <a:ext cx="2935048" cy="2935048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0E7967D-C737-4F4F-8026-D792DEBC686E}"/>
              </a:ext>
            </a:extLst>
          </p:cNvPr>
          <p:cNvSpPr txBox="1"/>
          <p:nvPr/>
        </p:nvSpPr>
        <p:spPr>
          <a:xfrm>
            <a:off x="5866359" y="359456"/>
            <a:ext cx="1636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VN-Gotham Bold" pitchFamily="2" charset="0"/>
                <a:cs typeface="SVN-Gotham Bold" pitchFamily="2" charset="0"/>
              </a:rPr>
              <a:t>- </a:t>
            </a:r>
            <a:r>
              <a:rPr lang="en-US" dirty="0" err="1">
                <a:latin typeface="SVN-Gotham Bold" pitchFamily="2" charset="0"/>
                <a:cs typeface="SVN-Gotham Bold" pitchFamily="2" charset="0"/>
              </a:rPr>
              <a:t>Phần</a:t>
            </a:r>
            <a:r>
              <a:rPr lang="en-US" dirty="0"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dirty="0" err="1">
                <a:latin typeface="SVN-Gotham Bold" pitchFamily="2" charset="0"/>
                <a:cs typeface="SVN-Gotham Bold" pitchFamily="2" charset="0"/>
              </a:rPr>
              <a:t>mềm</a:t>
            </a:r>
            <a:endParaRPr lang="en-US" dirty="0">
              <a:latin typeface="SVN-Gotham Bold" pitchFamily="2" charset="0"/>
              <a:cs typeface="SVN-Gotham Bold" pitchFamily="2" charset="0"/>
            </a:endParaRPr>
          </a:p>
        </p:txBody>
      </p:sp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7B941908-85FF-4FD4-9EA7-F80ABF6928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359" y="847627"/>
            <a:ext cx="3254436" cy="2169624"/>
          </a:xfrm>
          <a:prstGeom prst="rect">
            <a:avLst/>
          </a:prstGeom>
        </p:spPr>
      </p:pic>
      <p:pic>
        <p:nvPicPr>
          <p:cNvPr id="18" name="Picture 17" descr="Logo, company name&#10;&#10;Description automatically generated">
            <a:extLst>
              <a:ext uri="{FF2B5EF4-FFF2-40B4-BE49-F238E27FC236}">
                <a16:creationId xmlns:a16="http://schemas.microsoft.com/office/drawing/2014/main" id="{61DE853C-34EC-4F79-8BB3-10B2AC7B6D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3011" y="1298824"/>
            <a:ext cx="3055257" cy="1491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089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3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3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4" grpId="0"/>
      <p:bldP spid="20" grpId="0"/>
      <p:bldP spid="2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oy, doll&#10;&#10;Description automatically generated">
            <a:extLst>
              <a:ext uri="{FF2B5EF4-FFF2-40B4-BE49-F238E27FC236}">
                <a16:creationId xmlns:a16="http://schemas.microsoft.com/office/drawing/2014/main" id="{F7363FB5-E01B-4409-B905-01BA8C12ED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61" y="1604043"/>
            <a:ext cx="2695665" cy="1516313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745C7530-2D44-41F0-911E-A3A5F6919027}"/>
              </a:ext>
            </a:extLst>
          </p:cNvPr>
          <p:cNvGrpSpPr/>
          <p:nvPr/>
        </p:nvGrpSpPr>
        <p:grpSpPr>
          <a:xfrm>
            <a:off x="-222558" y="2834640"/>
            <a:ext cx="5383944" cy="3202576"/>
            <a:chOff x="-54918" y="3002539"/>
            <a:chExt cx="6126502" cy="3644278"/>
          </a:xfrm>
        </p:grpSpPr>
        <p:pic>
          <p:nvPicPr>
            <p:cNvPr id="31" name="Picture 30" descr="A computer with a green screen&#10;&#10;Description automatically generated with low confidence">
              <a:extLst>
                <a:ext uri="{FF2B5EF4-FFF2-40B4-BE49-F238E27FC236}">
                  <a16:creationId xmlns:a16="http://schemas.microsoft.com/office/drawing/2014/main" id="{9732D0DF-8960-4F5F-8DBE-A3E6E6F15F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662"/>
            <a:stretch/>
          </p:blipFill>
          <p:spPr>
            <a:xfrm>
              <a:off x="-54918" y="3002539"/>
              <a:ext cx="6126502" cy="364427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A245AF3-B55C-4A83-98B0-4203D8FFF6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3408"/>
            <a:stretch/>
          </p:blipFill>
          <p:spPr>
            <a:xfrm>
              <a:off x="1264921" y="3139440"/>
              <a:ext cx="3689464" cy="2106293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60A758D-9E92-488D-961B-DDEBF9CC74FB}"/>
              </a:ext>
            </a:extLst>
          </p:cNvPr>
          <p:cNvGrpSpPr/>
          <p:nvPr/>
        </p:nvGrpSpPr>
        <p:grpSpPr>
          <a:xfrm>
            <a:off x="640124" y="246198"/>
            <a:ext cx="4434795" cy="764091"/>
            <a:chOff x="5567083" y="1250330"/>
            <a:chExt cx="4668464" cy="804351"/>
          </a:xfrm>
        </p:grpSpPr>
        <p:sp>
          <p:nvSpPr>
            <p:cNvPr id="34" name="矩形 7">
              <a:extLst>
                <a:ext uri="{FF2B5EF4-FFF2-40B4-BE49-F238E27FC236}">
                  <a16:creationId xmlns:a16="http://schemas.microsoft.com/office/drawing/2014/main" id="{3474291D-E9CE-4CCA-8574-0F85EBDA4288}"/>
                </a:ext>
              </a:extLst>
            </p:cNvPr>
            <p:cNvSpPr/>
            <p:nvPr/>
          </p:nvSpPr>
          <p:spPr>
            <a:xfrm>
              <a:off x="5567083" y="1250330"/>
              <a:ext cx="84292" cy="804351"/>
            </a:xfrm>
            <a:prstGeom prst="rect">
              <a:avLst/>
            </a:prstGeom>
            <a:solidFill>
              <a:srgbClr val="E955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59FB37D-E11B-4B26-8915-FF4A2817583D}"/>
                </a:ext>
              </a:extLst>
            </p:cNvPr>
            <p:cNvSpPr txBox="1"/>
            <p:nvPr/>
          </p:nvSpPr>
          <p:spPr>
            <a:xfrm>
              <a:off x="5779785" y="1421672"/>
              <a:ext cx="4455762" cy="4859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Tổng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quát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về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phần</a:t>
              </a:r>
              <a:r>
                <a:rPr lang="en-US" sz="2400" dirty="0">
                  <a:latin typeface="SVN-Gotham Bold" pitchFamily="2" charset="0"/>
                  <a:cs typeface="SVN-Gotham Bold" pitchFamily="2" charset="0"/>
                </a:rPr>
                <a:t> </a:t>
              </a:r>
              <a:r>
                <a:rPr lang="en-US" sz="2400" dirty="0" err="1">
                  <a:latin typeface="SVN-Gotham Bold" pitchFamily="2" charset="0"/>
                  <a:cs typeface="SVN-Gotham Bold" pitchFamily="2" charset="0"/>
                </a:rPr>
                <a:t>mềm</a:t>
              </a:r>
              <a:endParaRPr lang="en-US" sz="2400" dirty="0">
                <a:latin typeface="SVN-Gotham Bold" pitchFamily="2" charset="0"/>
                <a:cs typeface="SVN-Gotham Bold" pitchFamily="2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70266E5D-02B8-43C1-865A-95D2A2D96C7A}"/>
              </a:ext>
            </a:extLst>
          </p:cNvPr>
          <p:cNvSpPr txBox="1"/>
          <p:nvPr/>
        </p:nvSpPr>
        <p:spPr>
          <a:xfrm>
            <a:off x="5669280" y="2362200"/>
            <a:ext cx="6355080" cy="2939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Phầ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mềm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Bold" pitchFamily="2" charset="0"/>
                <a:cs typeface="SVN-Gotham Bold" pitchFamily="2" charset="0"/>
              </a:rPr>
              <a:t>CityZe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được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nghiê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cứu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và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phát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triể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giúp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ngườ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dùng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quả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lý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công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việc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nhập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,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bá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sác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,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khác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hang,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nhâ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viê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một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các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dễ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dàng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và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thuậ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lợ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Ngườ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dùng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có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thể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dự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và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đây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để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đán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giá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mức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độ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hiệu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quả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củ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các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phương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pháp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kin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doan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Từ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đó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đư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ra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cả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tiế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giúp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việc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kin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doan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tốt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VN-Gotham Light" pitchFamily="2" charset="0"/>
                <a:cs typeface="SVN-Gotham Light" pitchFamily="2" charset="0"/>
              </a:rPr>
              <a:t>hơn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VN-Gotham Light" pitchFamily="2" charset="0"/>
              <a:cs typeface="SVN-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10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sitting around a table&#10;&#10;Description automatically generated with medium confidence">
            <a:extLst>
              <a:ext uri="{FF2B5EF4-FFF2-40B4-BE49-F238E27FC236}">
                <a16:creationId xmlns:a16="http://schemas.microsoft.com/office/drawing/2014/main" id="{1E4ABE4E-D075-4DA5-8931-FC0B3B04E9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任意形状 6"/>
          <p:cNvSpPr/>
          <p:nvPr/>
        </p:nvSpPr>
        <p:spPr>
          <a:xfrm rot="10800000" flipH="1" flipV="1">
            <a:off x="1815588" y="-22136"/>
            <a:ext cx="10376412" cy="6919225"/>
          </a:xfrm>
          <a:custGeom>
            <a:avLst/>
            <a:gdLst>
              <a:gd name="connsiteX0" fmla="*/ 4177553 w 4177553"/>
              <a:gd name="connsiteY0" fmla="*/ 3013636 h 3013636"/>
              <a:gd name="connsiteX1" fmla="*/ 2743200 w 4177553"/>
              <a:gd name="connsiteY1" fmla="*/ 3013636 h 3013636"/>
              <a:gd name="connsiteX2" fmla="*/ 0 w 4177553"/>
              <a:gd name="connsiteY2" fmla="*/ 648808 h 3013636"/>
              <a:gd name="connsiteX3" fmla="*/ 0 w 4177553"/>
              <a:gd name="connsiteY3" fmla="*/ 0 h 3013636"/>
              <a:gd name="connsiteX4" fmla="*/ 4177553 w 4177553"/>
              <a:gd name="connsiteY4" fmla="*/ 0 h 3013636"/>
              <a:gd name="connsiteX5" fmla="*/ 4177553 w 4177553"/>
              <a:gd name="connsiteY5" fmla="*/ 3013636 h 3013636"/>
              <a:gd name="connsiteX0" fmla="*/ 4183429 w 4183429"/>
              <a:gd name="connsiteY0" fmla="*/ 3013636 h 3013636"/>
              <a:gd name="connsiteX1" fmla="*/ 2749076 w 4183429"/>
              <a:gd name="connsiteY1" fmla="*/ 3013636 h 3013636"/>
              <a:gd name="connsiteX2" fmla="*/ 0 w 4183429"/>
              <a:gd name="connsiteY2" fmla="*/ 319774 h 3013636"/>
              <a:gd name="connsiteX3" fmla="*/ 5876 w 4183429"/>
              <a:gd name="connsiteY3" fmla="*/ 0 h 3013636"/>
              <a:gd name="connsiteX4" fmla="*/ 4183429 w 4183429"/>
              <a:gd name="connsiteY4" fmla="*/ 0 h 3013636"/>
              <a:gd name="connsiteX5" fmla="*/ 4183429 w 4183429"/>
              <a:gd name="connsiteY5" fmla="*/ 3013636 h 3013636"/>
              <a:gd name="connsiteX0" fmla="*/ 4533903 w 4533903"/>
              <a:gd name="connsiteY0" fmla="*/ 3023308 h 3023308"/>
              <a:gd name="connsiteX1" fmla="*/ 3099550 w 4533903"/>
              <a:gd name="connsiteY1" fmla="*/ 3023308 h 3023308"/>
              <a:gd name="connsiteX2" fmla="*/ 0 w 4533903"/>
              <a:gd name="connsiteY2" fmla="*/ 0 h 3023308"/>
              <a:gd name="connsiteX3" fmla="*/ 356350 w 4533903"/>
              <a:gd name="connsiteY3" fmla="*/ 9672 h 3023308"/>
              <a:gd name="connsiteX4" fmla="*/ 4533903 w 4533903"/>
              <a:gd name="connsiteY4" fmla="*/ 9672 h 3023308"/>
              <a:gd name="connsiteX5" fmla="*/ 4533903 w 4533903"/>
              <a:gd name="connsiteY5" fmla="*/ 3023308 h 302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33903" h="3023308">
                <a:moveTo>
                  <a:pt x="4533903" y="3023308"/>
                </a:moveTo>
                <a:lnTo>
                  <a:pt x="3099550" y="3023308"/>
                </a:lnTo>
                <a:lnTo>
                  <a:pt x="0" y="0"/>
                </a:lnTo>
                <a:lnTo>
                  <a:pt x="356350" y="9672"/>
                </a:lnTo>
                <a:lnTo>
                  <a:pt x="4533903" y="9672"/>
                </a:lnTo>
                <a:lnTo>
                  <a:pt x="4533903" y="3023308"/>
                </a:lnTo>
                <a:close/>
              </a:path>
            </a:pathLst>
          </a:custGeom>
          <a:solidFill>
            <a:srgbClr val="2E2E3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三角形 2"/>
          <p:cNvSpPr/>
          <p:nvPr/>
        </p:nvSpPr>
        <p:spPr>
          <a:xfrm rot="10800000">
            <a:off x="9448800" y="0"/>
            <a:ext cx="2743200" cy="2364828"/>
          </a:xfrm>
          <a:prstGeom prst="triangle">
            <a:avLst>
              <a:gd name="adj" fmla="val 0"/>
            </a:avLst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9554A"/>
              </a:solidFill>
            </a:endParaRPr>
          </a:p>
        </p:txBody>
      </p:sp>
      <p:sp>
        <p:nvSpPr>
          <p:cNvPr id="4" name="三角形 3"/>
          <p:cNvSpPr/>
          <p:nvPr/>
        </p:nvSpPr>
        <p:spPr>
          <a:xfrm>
            <a:off x="0" y="4493172"/>
            <a:ext cx="2743200" cy="236482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/>
          <p:cNvSpPr/>
          <p:nvPr/>
        </p:nvSpPr>
        <p:spPr>
          <a:xfrm rot="5400000">
            <a:off x="6596459" y="3830695"/>
            <a:ext cx="94130" cy="898234"/>
          </a:xfrm>
          <a:prstGeom prst="rect">
            <a:avLst/>
          </a:prstGeom>
          <a:solidFill>
            <a:srgbClr val="E955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C968E5-8EB4-43F3-972A-F3821F1F9DB3}"/>
              </a:ext>
            </a:extLst>
          </p:cNvPr>
          <p:cNvSpPr txBox="1"/>
          <p:nvPr/>
        </p:nvSpPr>
        <p:spPr>
          <a:xfrm>
            <a:off x="6059377" y="2894857"/>
            <a:ext cx="54113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Phân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tích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yêu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cầu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Khách</a:t>
            </a:r>
            <a:r>
              <a:rPr lang="en-US" sz="3600" dirty="0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SVN-Gotham Bold" pitchFamily="2" charset="0"/>
                <a:cs typeface="SVN-Gotham Bold" pitchFamily="2" charset="0"/>
              </a:rPr>
              <a:t>Hàng</a:t>
            </a:r>
            <a:endParaRPr lang="en-US" sz="3600" dirty="0">
              <a:solidFill>
                <a:schemeClr val="bg1"/>
              </a:solidFill>
              <a:latin typeface="SVN-Gotham Bold" pitchFamily="2" charset="0"/>
              <a:cs typeface="SVN-Gotham Bold" pitchFamily="2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D3EB4B3-A99B-44A1-B9AF-EAB213DB47F1}"/>
              </a:ext>
            </a:extLst>
          </p:cNvPr>
          <p:cNvGrpSpPr/>
          <p:nvPr/>
        </p:nvGrpSpPr>
        <p:grpSpPr>
          <a:xfrm>
            <a:off x="7909560" y="1328669"/>
            <a:ext cx="1213638" cy="1118663"/>
            <a:chOff x="7909560" y="1328669"/>
            <a:chExt cx="1213638" cy="1118663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2F78B57-7465-44A8-9891-07E030845F5A}"/>
                </a:ext>
              </a:extLst>
            </p:cNvPr>
            <p:cNvSpPr txBox="1"/>
            <p:nvPr/>
          </p:nvSpPr>
          <p:spPr>
            <a:xfrm>
              <a:off x="8148764" y="1420109"/>
              <a:ext cx="974434" cy="868186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4800" b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ea typeface="Avenir Book Oblique" charset="0"/>
                  <a:cs typeface="Times New Roman" panose="02020603050405020304" pitchFamily="18" charset="0"/>
                </a:rPr>
                <a:t>II</a:t>
              </a:r>
              <a:endParaRPr kumimoji="0" lang="zh-CN" altLang="en-US" sz="48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Avenir Book Oblique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AEA34AD-05C2-4EF1-8556-BD4F4070513B}"/>
                </a:ext>
              </a:extLst>
            </p:cNvPr>
            <p:cNvSpPr/>
            <p:nvPr/>
          </p:nvSpPr>
          <p:spPr>
            <a:xfrm>
              <a:off x="7909560" y="1328669"/>
              <a:ext cx="1118663" cy="1118663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702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4" grpId="0" animBg="1"/>
      <p:bldP spid="9" grpId="0" animBg="1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mpetition*people*running*business*suitcase*traveling*race*racing*late*fast*time-to-marke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7</TotalTime>
  <Words>1042</Words>
  <Application>Microsoft Office PowerPoint</Application>
  <PresentationFormat>Widescreen</PresentationFormat>
  <Paragraphs>349</Paragraphs>
  <Slides>4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6" baseType="lpstr">
      <vt:lpstr>微软雅黑</vt:lpstr>
      <vt:lpstr>Arial</vt:lpstr>
      <vt:lpstr>Avenir Book Oblique</vt:lpstr>
      <vt:lpstr>Calibri</vt:lpstr>
      <vt:lpstr>Calibri Light</vt:lpstr>
      <vt:lpstr>Century Gothic</vt:lpstr>
      <vt:lpstr>Helvetica</vt:lpstr>
      <vt:lpstr>Helvetica Light</vt:lpstr>
      <vt:lpstr>SVN-Gotham Bold</vt:lpstr>
      <vt:lpstr>SVN-Gotham Light</vt:lpstr>
      <vt:lpstr>Times New Roman</vt:lpstr>
      <vt:lpstr>Wingdings</vt:lpstr>
      <vt:lpstr>Office Theme</vt:lpstr>
      <vt:lpstr>Microsoft Excel 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hi Nguyễn</dc:creator>
  <cp:lastModifiedBy>Nhi Nguyễn</cp:lastModifiedBy>
  <cp:revision>24</cp:revision>
  <dcterms:created xsi:type="dcterms:W3CDTF">2021-12-06T08:13:43Z</dcterms:created>
  <dcterms:modified xsi:type="dcterms:W3CDTF">2021-12-08T12:01:50Z</dcterms:modified>
</cp:coreProperties>
</file>